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sldIdLst>
    <p:sldId id="273" r:id="rId5"/>
  </p:sldIdLst>
  <p:sldSz cx="9144000" cy="6858000" type="screen4x3"/>
  <p:notesSz cx="6858000" cy="9144000"/>
  <p:embeddedFontLst>
    <p:embeddedFont>
      <p:font typeface="Century Gothic" panose="020B0502020202020204" pitchFamily="34" charset="0"/>
      <p:regular r:id="rId6"/>
      <p:bold r:id="rId7"/>
      <p:italic r:id="rId8"/>
      <p:boldItalic r:id="rId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370" autoAdjust="0"/>
  </p:normalViewPr>
  <p:slideViewPr>
    <p:cSldViewPr snapToGrid="0" snapToObjects="1">
      <p:cViewPr varScale="1">
        <p:scale>
          <a:sx n="162" d="100"/>
          <a:sy n="162" d="100"/>
        </p:scale>
        <p:origin x="1764" y="1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4.fntdata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cd5c4a1a-a9bf-4286-bd69-5a3caeb1be8e" providerId="ADAL" clId="{55841E30-029D-4F6B-9400-763E18091420}"/>
    <pc:docChg chg="modSld">
      <pc:chgData name="David Goldstein" userId="cd5c4a1a-a9bf-4286-bd69-5a3caeb1be8e" providerId="ADAL" clId="{55841E30-029D-4F6B-9400-763E18091420}" dt="2018-01-25T17:58:14.844" v="38" actId="552"/>
      <pc:docMkLst>
        <pc:docMk/>
      </pc:docMkLst>
      <pc:sldChg chg="modSp">
        <pc:chgData name="David Goldstein" userId="cd5c4a1a-a9bf-4286-bd69-5a3caeb1be8e" providerId="ADAL" clId="{55841E30-029D-4F6B-9400-763E18091420}" dt="2018-01-25T17:58:14.844" v="38" actId="552"/>
        <pc:sldMkLst>
          <pc:docMk/>
          <pc:sldMk cId="3397228676" sldId="273"/>
        </pc:sldMkLst>
        <pc:spChg chg="mod">
          <ac:chgData name="David Goldstein" userId="cd5c4a1a-a9bf-4286-bd69-5a3caeb1be8e" providerId="ADAL" clId="{55841E30-029D-4F6B-9400-763E18091420}" dt="2018-01-25T17:58:14.844" v="38" actId="552"/>
          <ac:spMkLst>
            <pc:docMk/>
            <pc:sldMk cId="3397228676" sldId="273"/>
            <ac:spMk id="2" creationId="{5008D5A7-B2DF-4EAC-A0B7-4B627379AB4C}"/>
          </ac:spMkLst>
        </pc:spChg>
        <pc:spChg chg="mod">
          <ac:chgData name="David Goldstein" userId="cd5c4a1a-a9bf-4286-bd69-5a3caeb1be8e" providerId="ADAL" clId="{55841E30-029D-4F6B-9400-763E18091420}" dt="2018-01-25T17:58:14.844" v="38" actId="552"/>
          <ac:spMkLst>
            <pc:docMk/>
            <pc:sldMk cId="3397228676" sldId="273"/>
            <ac:spMk id="4" creationId="{D1AAE9FF-31E4-413E-9AA9-6E299708CA8B}"/>
          </ac:spMkLst>
        </pc:spChg>
        <pc:spChg chg="mod">
          <ac:chgData name="David Goldstein" userId="cd5c4a1a-a9bf-4286-bd69-5a3caeb1be8e" providerId="ADAL" clId="{55841E30-029D-4F6B-9400-763E18091420}" dt="2018-01-25T17:58:14.844" v="38" actId="552"/>
          <ac:spMkLst>
            <pc:docMk/>
            <pc:sldMk cId="3397228676" sldId="273"/>
            <ac:spMk id="6" creationId="{8B16AC50-88A6-46B7-AE3C-3E5446F54190}"/>
          </ac:spMkLst>
        </pc:spChg>
        <pc:spChg chg="mod">
          <ac:chgData name="David Goldstein" userId="cd5c4a1a-a9bf-4286-bd69-5a3caeb1be8e" providerId="ADAL" clId="{55841E30-029D-4F6B-9400-763E18091420}" dt="2018-01-25T17:18:33.049" v="19" actId="20577"/>
          <ac:spMkLst>
            <pc:docMk/>
            <pc:sldMk cId="3397228676" sldId="273"/>
            <ac:spMk id="11" creationId="{8CCEDFBD-6FC7-47FD-9FE1-7263DFDAF432}"/>
          </ac:spMkLst>
        </pc:spChg>
      </pc:sldChg>
    </pc:docChg>
  </pc:docChgLst>
  <pc:docChgLst>
    <pc:chgData name="David Goldstein" userId="cd5c4a1a-a9bf-4286-bd69-5a3caeb1be8e" providerId="ADAL" clId="{1587D6FA-A4B9-4424-BFAF-68D27E6E9CC5}"/>
    <pc:docChg chg="custSel modSld">
      <pc:chgData name="David Goldstein" userId="cd5c4a1a-a9bf-4286-bd69-5a3caeb1be8e" providerId="ADAL" clId="{1587D6FA-A4B9-4424-BFAF-68D27E6E9CC5}" dt="2018-01-24T18:10:04.439" v="425"/>
      <pc:docMkLst>
        <pc:docMk/>
      </pc:docMkLst>
      <pc:sldChg chg="addSp delSp modSp">
        <pc:chgData name="David Goldstein" userId="cd5c4a1a-a9bf-4286-bd69-5a3caeb1be8e" providerId="ADAL" clId="{1587D6FA-A4B9-4424-BFAF-68D27E6E9CC5}" dt="2018-01-24T18:10:04.439" v="425"/>
        <pc:sldMkLst>
          <pc:docMk/>
          <pc:sldMk cId="3397228676" sldId="273"/>
        </pc:sldMkLst>
        <pc:spChg chg="mod">
          <ac:chgData name="David Goldstein" userId="cd5c4a1a-a9bf-4286-bd69-5a3caeb1be8e" providerId="ADAL" clId="{1587D6FA-A4B9-4424-BFAF-68D27E6E9CC5}" dt="2018-01-24T15:55:48.166" v="97" actId="20577"/>
          <ac:spMkLst>
            <pc:docMk/>
            <pc:sldMk cId="3397228676" sldId="273"/>
            <ac:spMk id="2" creationId="{5008D5A7-B2DF-4EAC-A0B7-4B627379AB4C}"/>
          </ac:spMkLst>
        </pc:spChg>
        <pc:spChg chg="add mod">
          <ac:chgData name="David Goldstein" userId="cd5c4a1a-a9bf-4286-bd69-5a3caeb1be8e" providerId="ADAL" clId="{1587D6FA-A4B9-4424-BFAF-68D27E6E9CC5}" dt="2018-01-24T14:41:09.373" v="10"/>
          <ac:spMkLst>
            <pc:docMk/>
            <pc:sldMk cId="3397228676" sldId="273"/>
            <ac:spMk id="3" creationId="{748B1863-9B8B-4C9A-8923-64048DCE990B}"/>
          </ac:spMkLst>
        </pc:spChg>
        <pc:spChg chg="mod">
          <ac:chgData name="David Goldstein" userId="cd5c4a1a-a9bf-4286-bd69-5a3caeb1be8e" providerId="ADAL" clId="{1587D6FA-A4B9-4424-BFAF-68D27E6E9CC5}" dt="2018-01-24T18:09:19.089" v="415" actId="20577"/>
          <ac:spMkLst>
            <pc:docMk/>
            <pc:sldMk cId="3397228676" sldId="273"/>
            <ac:spMk id="4" creationId="{D1AAE9FF-31E4-413E-9AA9-6E299708CA8B}"/>
          </ac:spMkLst>
        </pc:spChg>
        <pc:spChg chg="mod">
          <ac:chgData name="David Goldstein" userId="cd5c4a1a-a9bf-4286-bd69-5a3caeb1be8e" providerId="ADAL" clId="{1587D6FA-A4B9-4424-BFAF-68D27E6E9CC5}" dt="2018-01-24T18:07:24.487" v="229" actId="1037"/>
          <ac:spMkLst>
            <pc:docMk/>
            <pc:sldMk cId="3397228676" sldId="273"/>
            <ac:spMk id="6" creationId="{8B16AC50-88A6-46B7-AE3C-3E5446F54190}"/>
          </ac:spMkLst>
        </pc:spChg>
        <pc:spChg chg="del">
          <ac:chgData name="David Goldstein" userId="cd5c4a1a-a9bf-4286-bd69-5a3caeb1be8e" providerId="ADAL" clId="{1587D6FA-A4B9-4424-BFAF-68D27E6E9CC5}" dt="2018-01-24T14:41:02.303" v="0" actId="478"/>
          <ac:spMkLst>
            <pc:docMk/>
            <pc:sldMk cId="3397228676" sldId="273"/>
            <ac:spMk id="10" creationId="{6C3A8F01-ADCC-47B5-8D92-E37CD68105F4}"/>
          </ac:spMkLst>
        </pc:spChg>
        <pc:spChg chg="add mod">
          <ac:chgData name="David Goldstein" userId="cd5c4a1a-a9bf-4286-bd69-5a3caeb1be8e" providerId="ADAL" clId="{1587D6FA-A4B9-4424-BFAF-68D27E6E9CC5}" dt="2018-01-24T18:10:04.439" v="425"/>
          <ac:spMkLst>
            <pc:docMk/>
            <pc:sldMk cId="3397228676" sldId="273"/>
            <ac:spMk id="11" creationId="{8CCEDFBD-6FC7-47FD-9FE1-7263DFDAF432}"/>
          </ac:spMkLst>
        </pc:spChg>
        <pc:grpChg chg="add del mod">
          <ac:chgData name="David Goldstein" userId="cd5c4a1a-a9bf-4286-bd69-5a3caeb1be8e" providerId="ADAL" clId="{1587D6FA-A4B9-4424-BFAF-68D27E6E9CC5}" dt="2018-01-24T14:41:10.907" v="20"/>
          <ac:grpSpMkLst>
            <pc:docMk/>
            <pc:sldMk cId="3397228676" sldId="273"/>
            <ac:grpSpMk id="9" creationId="{D3818504-00F7-47F4-8793-BA790B02C488}"/>
          </ac:grpSpMkLst>
        </pc:grpChg>
        <pc:picChg chg="add mod ord">
          <ac:chgData name="David Goldstein" userId="cd5c4a1a-a9bf-4286-bd69-5a3caeb1be8e" providerId="ADAL" clId="{1587D6FA-A4B9-4424-BFAF-68D27E6E9CC5}" dt="2018-01-24T14:41:09.373" v="10"/>
          <ac:picMkLst>
            <pc:docMk/>
            <pc:sldMk cId="3397228676" sldId="273"/>
            <ac:picMk id="8" creationId="{933BEBCD-4DF3-4F4D-B8EB-0DD08C3688E4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p.me/p5eN9Y-42M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08D5A7-B2DF-4EAC-A0B7-4B627379A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341" y="275399"/>
            <a:ext cx="8229600" cy="990600"/>
          </a:xfrm>
        </p:spPr>
        <p:txBody>
          <a:bodyPr/>
          <a:lstStyle/>
          <a:p>
            <a:r>
              <a:rPr lang="en-US" dirty="0"/>
              <a:t>Tech Giant Revenue Mix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D1AAE9FF-31E4-413E-9AA9-6E299708CA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4341" y="1034854"/>
            <a:ext cx="8324781" cy="685800"/>
          </a:xfrm>
        </p:spPr>
        <p:txBody>
          <a:bodyPr>
            <a:normAutofit/>
          </a:bodyPr>
          <a:lstStyle/>
          <a:p>
            <a:r>
              <a:rPr lang="en-US" dirty="0"/>
              <a:t>Alphabet and Facebook get almost all of their revenue from ads.  Apple, Microsoft and Amazon have more diverse sources of revenue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62D711-5042-439B-BB6D-DCC54CA4809B}"/>
              </a:ext>
            </a:extLst>
          </p:cNvPr>
          <p:cNvSpPr txBox="1"/>
          <p:nvPr/>
        </p:nvSpPr>
        <p:spPr>
          <a:xfrm>
            <a:off x="6166056" y="6489709"/>
            <a:ext cx="27135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hlinkClick r:id="rId3"/>
              </a:rPr>
              <a:t>Learn how to make this chart</a:t>
            </a: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6AC50-88A6-46B7-AE3C-3E5446F54190}"/>
              </a:ext>
            </a:extLst>
          </p:cNvPr>
          <p:cNvSpPr txBox="1"/>
          <p:nvPr/>
        </p:nvSpPr>
        <p:spPr>
          <a:xfrm>
            <a:off x="364341" y="6489709"/>
            <a:ext cx="569130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Company Annual Reports (all data for FY2016, except market cap which is from January 25, 2018)</a:t>
            </a:r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630fzXvd8yoSdTdFXRbTwpqdhRHOY5KUZ/Q6CRMsr6NC8LD/q6OptzhXHVVRqFVlndT8TPtOHfd3QnrHyTDKmXRF96iQfoAl1ggpxKsLyi26lUFSsUfsRezJBDlR6QmQPNnyTQi8veNf7gyY75cKM8UXPF0x4SA5Q8yqBHHa9rsH+2KkVW/IGtViFkqpNgqxuRiFPFDWPBHKfa8A3DlF6z9F5uUUXyiFHcuBnmR5rDK1P9nl07MvpmfQFQpNSWMVPU8PS0ZK6Jd3IigyNMA65Ea5rOKVJN8qpu0JZBeF7zmh+JL7kjy0v1fSap77qY8nSMzwOGGnOIdF2H5Vv/u491g/4419iDg9buv3bGHevswPmBF1pz3Ezx7MoopV1cNja0dFyIF8hIhT25GGf0d0ZMBFWe85fX5czHnld9hy8bPXhH/hpbNxM/Im0RXNsLnI7BcrMM0Mjt5kQGQLPGW5/adSNZEVPU19whnynMiS8fGuUb5/YgeLjtDPBFX4I8QxT0n0LMYySrSP+dxzf06WntCypzTXBUrAI6rMjfL40/Eb1WGSsnj6Hm2htASe+6XjQjJv7elY++x9NkDO3fuoZ9Jt9E9glUMydbZNzeOfhfXy5JvCaK7fuOrCVP9nSmMYS66WqjBsR+1k/rKSpZPZRbn2jr/mZanbT7ld8ra2WqRQuNETlhtbQRIY/vTkfhuglXVp21H6UCsAqMEmIDJGrhcZWb0q3uETlAa3sW06aSjGPfIHtFnMtn2kQZHxemIKAzX+HtDoMax3+P60mhllLAAiUl+EoBIpFnOeVlisGMOGEb6QkioXaKn4aLV4PEloWh/St+LbERghsEs38nzC7STryfvtuJQVdi82eOvDpBO5LbJbPdwQjgzkePdFxr/WX1//QDHExbypKROTSQ3q4OQgI1+QIM6Tb8vQETTBTu3oAM5MqCyfNp1ezcE27Alvo8wtjfFRxG5Hv26io0Qs9AbFFzsNOLPNCDw4AcNqLdpSsFUXH5mUv6qps8Em7sRJv7N10pNe33xE3/k64rBHwR1K+XkYUD6QJfQeAQJpy+lGMzZMFqhpUN2RGkHAnTkfAoYGeFYn4Y/Ljuz7OUyOtSV2hMWLL4sUp3tS9dY4QCVlz4tSRxeOC+5tt+QH00QmybGjAaOtHYLTCVKJ6Z3IAaLR9YhyHLRK8pkolnS50HLSvzeELFFkv6m0oscalEQ9MiLD4jNByPwBeabOGAIbhBkCQY8Z7ZpI6+UbElGWfpLGNf5tFg+ksemNrb5qbvF9dyd09K9HIZEd/vOfRqWbzSV70WQWMmOs+QVx+Rfz4NpWqXYl1TeGId2c6nLWEldPhRGEwwWXPQy7ZkLYOADj17bgtl5I2ANtzx1GFM7kDNDei4J0KteVILv6aDIZapWkGu64yfSbvln1AakKs8cn5XFTxmE3xpfJSpsMGX/3GZAzkRwS94P0tz86LS1Tat3hAinqAOKPlN45FZjCxPGHc6hLIb/Jn+Otgc731eeUXBWfNzTy7RW3LUIwm7vhG04VQ5alqMbvonSrhR3HkekR5rZegDBewyaIwf/FNs2kHUT5fKd1fZ4INQAD5MhZHgyD1WbBdl9F3YTGDk+eGsVQ5VpvFh3YGAnsoc996IGBO4dgV+JWcA1Lany5Zo3hpumJwZPfTIORVpN95kc3rT/DZZaTtmhTO4KU2S4EO4OUaasUNjvUGghVLRSsfB9OJfFsE7Axk1yEJ233wQ01/DCDZKD0MM+/TkTUqnnuB94LJa4m25F2NICEs8eBt3pkef3eJKZUTgd0CuIrrqZX0JXGW9mE3hJiJVmiOMhFiKrzvugbs1QdWHts2F7M/J7i5+Ay65x266hj78osFlcwFJPrJy8N4p7xOTfj8zgWL5G/CivCQqdODlE4AMe26/izu8sM81sd6hE9UOe0UtedW0ukkgSbhgJDCUjmQEFaQimo+tzBdf4+DUF2jM2rPvUq+GdcUQNMzfbH9iqCY85aIyM0VvB3ay35Uai8HSKT0aybY/wFsd1QNsusWOjyAKExgUZfPzr20jWSvBV4ZIR3l6Tu0RTzad5AWlTplm7R0N/XotgegrkXASCP5SogP081qC6S/Yk7ARjlXQTDa3rNsTjSeH6ARAn1UMNaDtu0vvruVcvsYLU3RdChIhBnUrQ7VhgbGiirL7i3I7vYi6yS3M9PCHoRDaWF6BoE07bf6aaavsfTg4c5ABHhvJOlFMpL7SNc46IWiTgdfMyiQHEZk92NKqnfFAyp4pOcWfMjkmycgC8Vfzo72ramxynjOMTiU21MiP1byn1AKQmF3v3z1ywVzuYojhD21uj6dXF8dnYAW3t80wJJeew+XTs7la+BiPiTyD8bRt9taT41PLiRczhsSXpl65itxp11zyCDsh/ig+ehKkH69lRid/cVVWWBt+OJ7doxZfMHm/+AkQaYG99NoFmJJ1xN0mjuxKDV7HJRGQA6BIsAiR/IT33HaELNjLluSHO2dzA5w/hL9IUTf75r0oelRqTKLxRmQ37Y/QoYkIDj2SHs0GTteIRRcDG8Yl/aW6N79qG/IwnBgPHC+v5zZQYLzgsdwQ9iS+nUNmVtHeAWXVRl7zvGzjDLQvmj147Msol2rOD1waYvZ8Y9HyLvG8v2kcxBLIzG5yreefoRJn0KB10fKq39NVgiENlHmVMpwdE/rV6HNSsnefyPuTnmf5hKqoPoOPx9HTsIY0BWpNJkx1olhwh53q9qgLU57r500/qhIhiHvQt4gRQ7zK8SYjri2xPcZJhs06cOQDI7XrDT2CJ4voOafg+AApvqN/VmwsVwJUsRdogeYeImmZksmm+o6l+S4k0+GkX+ZVstkEUvnj1m4xT2DbGAlU753XMG3sFeA2w9M6eIjwujcBmo0LA/JOA9Gz98380Tu0JoGQUFt3JU6EbUg3XzjppFM4I+qvGW0cNWnPXounv7VQQpo0ShzZDk/zPxu8l/yZ2XtaLfp2yLCwOUueiPIEuwberxNyedYkvW5U+5qveJzT7SgiP3u0Gq8P2raRnmvLZqanUr00v2D9d+6FV/cPsk10jGdskJxeW0zhL4lQnDU8yjV57mNjiIHt321H/ubgRFFOE0Qfbv7HmlNaJy5qoefLlpiRbuINuavB26YTV2GXKw7Mx9En+Bozh+qU+xEYiyBhQlHkc1oFfvBb3n+iEFddv7z4ZrZDOKXN1iPkGSEDPE+i606jU96UGEJzXHwd1O+KcQ9U+jXj+/mfCba2No8CClfi9sqkhqcFP9ORNd/WT4rfZj3yrZ4nYFsG2FRyllj7kPqPpDJZi+6/5UpkezB7GFJTKFYgGFZCyPZ3ArwgQcIVD/QC3GwJ9m5jqijB7jC2IJAW4AITTC9ygRDfBISvrGZgMFSJ8D6MOtElGoVahFhNkE8DIODbhucf2T+Gnf5gJEjImjsuhKTdHQa8J3ekxYbZUmXEq2fWLeQgg4OEh3GcEXvLvbG5tPq+485LRHp8eMqgtrhBVqSnrKck1k/EN2n6PirSkdc5gKN5O9qGSM/aUt2drV51KbgVMy6L3gRzk5r47sy8Dlj7ut0rx23h70M9k+7YjTHKPC9LxEN0XeksYW89SSEcckNOfTk0vFRZC5c1vDWI3xlhQkBqBEaSHmSha2l/R23kyswRxXojcyG50SwIDnYdsjpWSdEIRAB6N+MoMrRDjLynJjJlt1BCv94kAywRwQQwaQPix2MbiCxmrDiGbr4ESQ6iQ8dgi7Of7pSGJfTcF07l6pVguBsD8PJIc3PWElbimRodGoLW5N2bZEyfVHJgy4bac0dTXJPo55kVGx7doFUBnk2fmKs93op0GW3nr6rU1pGfNct/EIdLnp/CCs7DvNX6AWWOegkH14fxp+Dcl/JbN9f3YiEFLCrnmtXj3VzfeKTOvJdc+HTzxkz2N/Sxa8KYL8mkkRfn1cj+j4QBRa9nVEqkEntFwmGTglJSDzcCCXERS0hOL539r8XmNfINLOAwio6mYZx1ndMisHjCEzZau8IPHL7qiIXfyR1UkoagaMssRO/QOJiCq7DtK5WlzqeMqYIaVwGu7m080/3PCn+7Bifr6GMIg13NZOoCavx+udEIXQJjV8m5TIDbqIZ/3sBlXqRRG1IwOqCjFKnzXKODjjjvS1cvKvCb8+MLPMyJAeKLMXIhs0f9vtZkWmITwsV3n9Sy1QqULWXJpLL80Oj0lPFntWYoaFDdSPgQmzB9KNorgaxwu3FKZDlQpwkAXfv+RNhQBjlm7kRfbRJNasTPonWshIfkv3dbVo785VowAsSsV3PjppRS+o5zdW41JWzBau23cjl0jLRI+6Da5Yr4S/kuiOf6KXy6XHTWDnRqF3DUZfXashh3t+2M6k+70/aW/LRF5jgrFWfXgUL5jDSk5aS/R5bnfTxKSbeq00diS7bnXkdsIVGXB8wCE9oeNpv5e96zRkuLQVRSWL7nqexLsyY+jDpbYYzU4pVTK110fVyiTL8OT2ix72xmvSw2+6UFV5VQvuFk6bOqDYRge8WW88HlKMV8Mhzxe+npovadjSQAsw8MKuS4di94S3JTKBBmnNkEQAb7ptACkk+taNMRo11ZoYZb9iv85e2ttsp2ZsakEOKYU534VHe+FO+4zWgFSxPFruC/6hDV+urX1qwNd1KjD0+sZUAZazszHzcE1eMLVFIAm97xpkMowdMX93jAg4rPpjh9Ff3tcqIk3LgEbxVvxJE0WIEcOS7qPLqXsq5kM7h1eJAO2D4hGkByJ6q3jEZH7SJm6qdYisBIdERlrGMlExfHsPHD8oUyr+0ZI1sBUmNZ8n5EwE6tSfeZ3iQVVURwkCwk6cdI3RQSaqeOK/ms7aP5FQwtG/yofei0LG5+4XG4T9j1PkLE/Rg+k3s3CwSRoOI4n6yCZ88pvcp6r57bVpMKBpnV9HwwfaziCaadXjc034tlm2/11YEUEFGHETmThnebanblDXL61bbA2reCZL/EHiwDQPZICoZB8iAiZo4rRLCmIqg7Dg0jR+ADtAUaD+H/P7J/xynCIJmSr+z5SOQzjQ1cBdsHj4yp9b608nZivkYR5su1KU9h+obCk0vwgph3e6XHmigfrcdIB/fU9DoJU3vzf/hTmyhXXypKVaMeZZrmXELQ/Y52Y3+RAVPkwp9fpzBWPvgowKlidRqI5jZVFTgeuU6khsokV27lOw3V3w/t9pD3wOf608VFg5BfemmEgweYQ34N0t/XPlDXWyXP7tWyjkulx95JdAZ5oowUjBgvkZT0UqE/hAPot8M5H5mPnpY/worM/xpGjxq7dZzuvzzf2VB6xVB6eH+ht9a3tyid+kCQ3oFaKICNGqzymC65e2aGFPC7iV+9ueodEwZ52P5zccKeFvoM6jmOh1pKKHczFjp3QXpP6JaPzUBVvFh+7/PJjiXeRl5vs6ZVqiX53Un182v9eQu49sKXB063NEiDmIZb+1XGXNHUVDv8SmtmHXlO58yYBnE3DQ1geMBx3PhhECB2Jr4Dm0qtequ3PzBXlunBsT+NvaD7r7F19qq5SlrcLNfwfaJuAErVPMB8LLghq+qnMJR2e15KA18cdDn815/RL2c7SU98ew4LvTQtOXJbQsGQLnHBSFNGCfCF2XCH2H007Q6C7zk733QJW/aieuhfPJs6VCwia7BUgvgwNJZ8ZpgwVOIIaFLE7MYWOXcjPnc0OeXVXruZjkyNNO+ZM1nXmVVDepWWqsHdVA9JJPz+C1jtUl31xBoU7HQuNgu1XNZExJeB3qiocNQ8co8UiA0zDb9ESTQHHXSB0pHtfnFqKLDHzlT9GJBv4iQtflDvq9mkk8iEzEXK+AK9mIKEa59/Jmw8DMfTyssYioOGoptG1Yhhly9foc/I8DQtHNPlHLKm9+F5+bBCwnQIefeNt9Sss3EIOWuOehqY6g8RH6YzGi5Ie5MOSefkDt7oYRrLjGxFlX2M0Dafn46lxra1RhxwfZhkFBkv0vhglFhEa/HRvr15BCMU3URukZ4ET7FW0IR0SsrAOyE8DaCodlAxcCMz8LWvGGJHCPhh/El2tCaTQuGf0ci37zxbpmZlnZJn1mK00MHltQE4/HDhkZbFuF4yAL4UYpAnG5lVcahzjgKKXn9G/lC5gJCXIg5iJMbh3IumHbWP0IyvyyZgXZTiUY0Fop78kxyefcUACMJ+pvZD+bHQhWmKm/M2GBKDw7XasEQl0qLtHHqItQpIEkvRZoVVRK5hbrC57lagB6nBGxJw7apccR4YYg4cEYPO9R+U2ttDfmnUoi63WKFjMSfGFz7qTbnR/u88y/h6TPjmRoWkiO4uQh86FhfKqWX6lZazKnaAF7PrVhtJo+vZiwUiOrWJq9gE4xzlUlkIWOSWbHmoPxPd0bVkPrpN3BxU7rV0IStsZ+w2vaeK0mNe1VB+yT7ClqjzjN3h/boelDBsH60G2pkwQ1qQ67+I7xkfjgNIKFPvZf7jRP95sW0+o5PlAziUMgDr0K1tQ1tlbzcQIxNUrRLRQL3YH5qOqz2RuJLnu+DOfS/rrnPLl2S8pYTxo6X5//9OqABxag2+mC9u57ClGycTrkhpSHrjIDALG01LDiAL2TNBEYtfWhJyHMZhTcF3z4hB7PGSIpoBhLdUDryUsuAYNXlFx9TD9o0uaLO7P5B6Y6IScwTRRq47YgYLMuBkvNLKb0ORMfU9+2K/lpn5mDkFRljod0reZUSUYX4HZeN/ghVF55OqVFJ49GGgbqeuQjKn3u69DEx+gnpbzzf3RCtx0CMdapmww3B2bJ7qKfEZNe1hfrZLy6QywBVn3RzbD++ZkeXVYDCNxArdM/EnsMwLE3Cuo1AX6Miu7tAM8Y+dSY+rSjXI+NbfFr66zbDpdCybs9a5Cuvi5gDWkf7iPRtjGbUwZEKIoMiTZJhTcOLSfNOqmtfSNL8mXl006BXVSwos7q6I+5oZ/CBdNnLD5dB2i6UuFh5dTWfQE4zcmy7yWYID0wOVT8WRurVgJIsG5meAmWkHyGibcgwgGCACazGqb7zA40Ipiln9aBTWe1SJrXFEzYARmKC3OBd1IDePnGERMl+bc0iynPAghnn2HuC+xyegDAUF17GxgEjFUpf/PmZiYgncnL/rKFIULUqtsbsD7G3fNHcM6SS7q2DXNV/0I3gJwrkoYgWW/I2KxqeR7V1n0x7g8LmXv5w+XayldF6RoIMQSd10NtIWV4ZZRnCnMtHZNUWH7mKAPhyBQCNNPb1JbVcIMh1prFpWvvMoyXtgxPTl4lJvJQhCNYlSKS/XQx4n9CQqzHHj5uzxWHNzIKAXi1xVqUMFAh+WxhqgjYsnCMwFETccFebF0YSqEYXEIAhyQUW0Tl4D8bevVZ5OLvcSGkYWklDhoDKryczb4MWmYJfm5iOFPeopkOXkvWFildQTDlv96kbfaWC5Iz3ekQe07357hf/ulPwV56mZ7Yww+2yWyl76I2QwXld8rH6xET0hHxBBOJ1Ha2MkedmSnnYz6YULhpBaQF1DFqwR7iw/cDDcB/tEdcsG2cOg6BPlQeVPxAFJA+28Kk5gzfad/0ArMUo2ZSXLcjU64HRIHXVvvSzy5oVoj+NLbXMyNMoCk9nid9iENjBHlrllpxqRJ5khtEee2YGnfUhjy3T//N1/vUVjl+FG5fesFGUa7hyhQ3zulUE1uUFM4IeQ1yHTvmxykgxfqHQ8QtOn8YblO1JyYqzEgo46MDg3bfVmWgXQ2bwnb6YIyC6tIcMj3w9UqD/Pdo3vJGau7dA/OR51pLxKm+gPajlB/SsVeERna6gfmqHN8UH5DI67agloxuM+8lF27c48c8RueiTOsXBGpi4V1qlR80mdIMuVhmdAanYDU5S9BSHKZ9yNmXbx2wfk1BWARSZAuG14ySj3XgnjI3enxjWTK9lF4nRT2dWRGyNeRyhWDPtrJjfwT/SR73jB1PQxXgYuW1twcES6sNmy/UqVGOfXM8G2CkOv2hrwy3u40yGUlEJ1sIqDQKE73a4hv8xl2dgrAQPduqzLDXJ6wu/C6kYgnJyBl3MnSeaURJYaUFOdx79fxbtspkxQUfOLQWvcSX0zWAQLCU3w192RHv3XrUEPAWJWYAuh1nY1fqdtEfBCq3e99Zq1wqNqnVgBBX4B1RyZ+i3e/fN2Xw/nbXLQ7TVn0qlPQSP2a1dlQcZH5TSL5GG+JKn3P4FhhgGlJLMERZ0akHsmsRKUrAVAw96cWWIzHsputoBzobz0iFigh035k4bEe6XuKL2AkQVqCLExli7IELvb9AAR7Lw0BbCueyrNLRFTsTBD0oqnBOWmm1nxT6n24p0j1Z1NpRpmOZaP4UGgVPQ4TOQa6QZCv39LcTtP08TrwPGa2oal0NFbVNNwdL5+u44Ol/uYtWpFzmKU/l8C5dtlZ4nBlN5bR4SXzU/62X3KKMjC+KZltsgzCXkwC2fZ78u0XmxJ2kisCDsjTy+4f8tn5s/wz6yOXMeZlKnAaIrpuPM1KKL124Lp3j6XdR7HTPcS8Wpeiml3uGbY60vb8H/gzwUmU8k0pdi3G4ue+fPZQvqtd24IL1Y4qUIVYyQV5+OzpZ6DiafkPp9tMCFZQc+6kZP0Xh5AAOWqNGbF35Y6zYbEjd58VDbiUa1TCMVpwJiCurbTVKbEANqByIiO8vdL+YeuEPNiNNM4EuxWYSAT9xoojp5Hpyse4mXk5qAuPX30zg/l2qqkEzcwOq3OkKRjuIM4Xhebp6VqLTQBjlOV0/d09DHtzJzo6WvDOOQ2cfInrK4jVpKFUAo1SC3/CVc4XJghg4bGY8vl3yvhUtSASPJDKFtv+9aIj+bJcwK75FMG/K2Gi+O0/qPTD217H/Fa1kByQLj/wsoq+Rz03OJigruvKLCEWD5Fem6BYuISvZMsqonIyMgbRgw40C+ZU/JC+njt8sywRPLRLklXy3tTevpYjTm0UfxoQph3BlpFNyk4QnLChNUCvJo6NasZmNNWDJtDX6bwuM7fvgTGqhzLm/tYm+UspTY2oJsSX3hesl6FYeVucEmwXhcaPdPAlkJ7JI3uYpaBfgfrXqPqKNBFmUHz81KDRtCis7JUmhpx+3hIiQdWIFco+2ikU0F99pUULa9ojblDZ64YR/E5PverarzsOznjx40asTbw1Z5no6G1uSYW441yAKYRygtZuGsCCQUoO/8Qp3uJpP/hGa6GxgD86LCJbi/+jWuiMt9VER06DKuaNVewc4Y5l/KCbNtMvgjEjzm5RvgE6tSZbA0/lG5QpF8WRfQuxO2QGZ9d8C6IRofXbN6M6FZ81OCVRj+TygC4sJ2j3f8UPsSNywW8dCivWmLp0iiwhz33Z77o2OQ9nolHgIM9yTyW8YVNZzaeUkf9Nl+CqmrVVJVX3PJ36CP5x5qpE4IJWNtlDAMbwMGr+m8BvrdCC3Cw/tQpvUV6YQqL1HQmV+OQ/W9cY7PNjZ1tTWQiwjJSwIkQ4FsJfjE0H0C2hGhUX8l4UOI3Fbrr84s0xArJESx5OKB38ZzmwRqG9bMvQ1beyN5kI3IgJDcmPuVA6s0zmTvCuJyciaxDhJSp7TFAMaQyvf7E7QycdfBdNmDPU8TnFhnDQlvOKhsm4rt6OQGsXpgEILXDXbMMxI8ODSXb4u2+83co2S/vhQNgIkXAUhEHtCMkvEeCJv+aI5gmdu1gn92jNGftwGmPApjYwJ7CalmY0mCOQBvc4yojjZXscu1fajeA40VYLECJZWGdyZPy3VzST9U1uEZnqeWGppJXL470ldjVRn9ELi+MYFFFO6MdmSvNz7HFRQeGnftjluVzkCO95hJN+iHKQiDm2Hrmn4LUlah8C+FS22YaIIcdHBg1ILLFni/TBK/qEsYUWI/mNYXXmGtx1DSS6pFknB9cfHULoPZcKGS7DwzxFAWgW6ZZCusjZkfVzSc545LMxoUoMZZ+c84lfO4NsmyZc2zsNrRSVVGKSuVB96wPeGPgmmgK4a/rOZhWmH+WKhlGGa88cmwDWreGM7TpdJI5Hb+e3QLnI3t6cW5F/vlr6WpEzdWk4xzoplNVMZFcHwb0COiMjqRkSRHBd6E6Eo2mjZ6xt/yfE9OyOvKT0w/xFwAYUtNEnyhMHOwy+gULg41f3kHNXGyZrMHGAzNHZZ2J6t+lMVQRAhuhJ4PErx1PJi3xZMJho3Y8XPD6LMs5xYlp8i/1WuQ+dX836k2uWUaDyblznJQH0qx6417EzAZii1y+3TK4RFN6+b2YSzEUjDBgS8gCG/XyNkUQXasKpopD8AMSF0Xe9GqTL9sVMrMYxdORqZ7bMFOiIrYYJ7nVG0IZHDV3QpSc+AdPBMcWDLMjPJsJTUYMdW1ZidLKVBrncdKybE+qDb6sa/Hc3PapAX4RlQrIuoA/vy4pRZqD5+CJKOjX7QvI2jmm3scIG7Rqa1/CXKbqpsABkNu+crhlOsX0acgWcwHgBsur3M6zkR7EAZlYYM77uKCSP+C7eOLfp900F/+PkMPY4APRe4b6on0lpRLBhtsjlaTptKkn7Eyi1iVgpTyqYW6kIM/c9F+B1msOJAokXYXwndTtJ6SDVMK/ZEiseWErPWGRQJcsEE3bdc2E4lXrhoQ7cKkdemW0ujH0L2OqlEq5goSKZV/Y6+GaAJHSqUOyQdHcGFrMQKFJEEfZhgkwoXiN/KMba8vZGZZHMq7uUVXeexbRmS6yZceCk7XajbDFdQxUiN66TRJTQ4OimWRg9ax9I139bjIc5xzUegAzk+trN4FExnw3J/SKe8uwyJyVUb3zroOeam1zYUNPkKEBhpIlfR55vmH+GTVI/3iCkJYxDDtBcUJwVUQj75vGKwEeJryiq+AauFytuU1CzbpasTEJLEH8UocqKnkF5YNuRXCcLjMbhiOl4a2gYNkmt7Y01BiVR5wcxBYYURukhD5nHthcFC2BxHnkej7CNsyCxYn+EGGTo/HICkJf2Z9DxqY5qi9Et/1/F0ySwTyiiyXWDYeZbUj5uaVH/gUTzbISef/5nXp8V/iabi37pIKpa+sSbIzIzXhcgaRXrsIPQEpG8U4H/A4NE5Qkp9OkjNw3CRRRcd2ra8RmqXL3k1BN0z0LOt05LCagk6jYMGxjDv2eRASht2DalMTNIe7nCXuS+HVNHTuwlfVf2ClWH+a8BYztgQ9LDoqZuTH4AodJ7OchKK3XSIHcJM3YDhDoeUoqcQVZshbTTCFRTAnu/Z4do9l0Eo2NkulDLMVpYfr9CFdrrwt97FF/VldmeNejJ3b1H8MqitzcIaQ1WIy3gDP/Q+DiL3ZbwkvwO3lutsynPSZNSRNqzHGUtugnRKxgGeuTWZbrI9POXKdZb3qO342OniieJX/jgXe+JJ8EYA9u5CLDdO2cEQk/LQbipwNiVSOXenviC2FIpCeVBiiO4I5EaaUd5zZAffaQ895p407mYRKfaMYqzp7bwM0TMOxg8gl597Dz4i56pVUIovv1k69EkW22FSDZJBnohN37lOeKHZpmpLLU4L61T4jH9jncTijxgiVEr0PF/2D6Ujojvk6bwCZpgTOFZpanFhVKp2q3cHAfD2L7kaAdX5oFiHhqFjXhuU/unKdQ+EiOIYcWxjlTDRgvfrq/1hXxbS1T+QIE0HXhEI7QehQO9HZuz4J0BTM3IO7lJizJ21yALEmJdYkA4ljqvNwdsXwof+lS+Nd1lGyVtnBBiic85vedRIQRHarySF5bwUXfkjZkLs5QY6AtDas92xDWMsUYHCOFNHthGzXxvoS01A338kz1soRf2IckLp1UEB7wBknaL9cF9NVnlRXKEp2Hu8EICkY7UCJFCO6oRdtd43cjqCyNq8LSM5iP14tuwlrNzPMpM66hPwfOxsNs/MBpCTKZ7KsWIbU+paVtB4+bRt1Wv9koQrLsnAbUduzsnOTrzAri+xskc+3NroCH8Okf2UCpufIHr0mUk1pIYOeg8hD1ZUiH28eiTqLH31ZlmXP1m2bAV20iU1MLCfUzfPkheJgGmdyJEs5Fh+sUMyhI6bFKnaEPk89y1No7Qqhf6ukdQEtCX5u2B4Sh36UPuA7lJcdzQ/xFumfZ+D3wTQCle08gW9KaK13onnB0P6RSmF31Os8i0GtrVpjTTQrc2DMixwtZlAIubJFs1WbsgaFMzdx7YxIJa10EnTjYQJONgkXy8/3Ptyc5MSHTR3wOVs6eVpGcJBweRMpFyF0oUQ2nwR9RZEa5e8Wo/rrppvvNkzB/kFrSMBV4UjMZat3z6QxWuQEc1hKXbqQFNeEcYPJkmPl8NhJobatcE+9U/pyYt+3rV1YWCIvPkFsYuECoceFTW27RbC2g6160MbbksoBJzludOqeuqFwK09ZIBx+sgeLd/Zm/L+zJza+1UiIkMg6IOlYSBk+TAXeTjV79fRV5tA8nng9gpqn5HoWL3oWq4c5AsycJQUUlOUKtblEMvV4Ua0MsLBkimqVv5uB5xgqSQqO4vovg8qLoQBTMudmNxnAL7/E50QVFPRYjBnwO0/A9DuNhYzzfrlygw0cP+RPObH6Cxnm1BpiEZNklYzBpQOV+zwlNMOfoVgETY6lwMj9uRuIsKQ29Z42F5sRRvjfLXqYSy12W7Qwl2puf6xzQv+4lncqZxpYDgipFdrUHV3s2PGgr5KeqpeECx1Ugm+g1wQYJ7ejLYzYqVpOlHbMSL53MlI7E7lzJ8vBv4EfhjpxwDNYUuQyZxg0YVGBwB7Tr3SofS423aDeMom3pmPJetcWtOmv92CM5jK0h60orvcmElXGJ/XGx4RaLlX76YC0YDw/VBAscnlFJ5NJwI2wd5PfQi/DnFWSkI0j75vgsscQ8mn/peYfUVpzrJAK7T/N6UHcIj2Owtcv9Ueo/VVaIyf6vskdrPkbGyce1aKnGszpN1ZKuMwfcyemfsf4WdVmilaZ6+ujkcZlg7lzLlvfvlgfPS9kln+xuEgW4kjeWgtoRroBqrr+XUeu2QF32nHbpJ2aKxhf9iZ2ItydZthBoQXlaPPdz9UgrAQUGDGQZVfiEo2cAEmHPA2sKQgIB0e1ZxWVw3Z7MNdgdWGNKxKHRcDMVCKygBRZkYgmCdg+EBEjBISE8d6kNKqAaTMpatZMPRxUbCH87TE3UB8YZKseGuj1ECIh0wJ6DqQDPkvnfe/ylhFQES9RhaYI3T32tXJwuzXeIePoTKLI7hxHDVqTZl/7auKJdezbiPRhcLPYtxz/B0nLHVan+J7shyWY1uojjK/0ncEtu0DHWrDE9IbPuRDLKW53+DbBVvgSJlVwqk4Dye2IhRIw3KTpxtriNjDqlLWPvDHyrIhqROxypOlLnGqyV6itmhF3luUh/SgUeTo1ini4NaTzDWg6XtHZ/zd0E9EguHIAVCd9S8VclzVYlQQJby00vGNGeqFra2y3QcktoB4ot6Nwg2ujy1GDqa4WOqr7ETX97DumdT3SvYU++rllbom8SqqVzJdFHQDS9qsXQraM1qbcb2OkZuAnvgnvTPc2/l5+DAxRi7apSY83ayygIZopQwaaBSPv8pJOvHW03ERWNLe4t1pi29zKE53R91N+cDRsUaqEDi2qc97hT9dVk0d5jwBZOqsbti7/w7+pVJUm/QXxtFSJ+Jhbs+P3KKG6xtNXcx9FX+8R5NBQ2itFP5OWdFrFWpUKtd8vfbk4RZFEW4U3A22ixofOTlm0PsIXMGsYgx8lz20t9W6ezv+2eckc/0ipcgy4zIKkJmZkSpKBuCa9wtXfThwDZJK25lPzVSCYNaY6mSfuVjJJzN/6VC+yi57rsP+fferDOjYqIM+/hDUiRa4ltAxhXgZ6tLZfJAPJ1YVL6fB+WAki259z42R9l074j1qWaKLKIUghJMDo//NJItBBpoxX257TKOpd3eOvTZxVfBtoRQStYwQHbTV4zlBTy+7PmVHFk8fHibizxhd6oaw3obiU1ClEx3m9YFT3XvWSM2XccgwnagzYTi3XK491Nuy5qJU0JrU6VlUP7/7dx+Kh2RmhUmlJPlI6fprrf0IsmeNK2OudL4qZ+v9tEQ0zVFB1QxA+N/HumMUQ1BWN0yTQziVkkLzN/828Pcmxeqw0KwkmRLhJH/RaOJaE4BZufWk36k9yNjWVV8/zXYDB8/3hQslncZkZZxdqRGT0qgKJwsVXlZP+c1pbePN3Z8ig0/h8QrdOD/zDTXTt5CHkpSaePPn5aJX+5vz9r/+wNPcbkf7aKsDwkyvFTy1WfbuOhrg8LPs9wRK09FW9IJ6uJe8Gtd5gHg76/siLpV/0BOjMSuOusPnTg50iLIJE7Uopy6baMc2Oei7SJtNcuDcxWeqIzvuo5tujLjZGPTn62ILXM0/GRw3EzbIhbNVqwllqZmPcprxQw+u7DktHH5dLB3BunlK0YEXku1dpDXW7M5poPtZvtcTon2Z7dXPlOCu2W+GvhZ30bPdtjt26i8ZA7e4tHn7kUzA63gV0LIDUlTC5svQDLYFrvnAc2ssPq61q2s1DEyYEBGvLuInkUGlJKIodl+rw6TNdyPkbkeBUEY1nJ9SZuBrOrM5uKGyPMvh18aokpng2tFDja7+cUihsjlVUyXJhj9Lp/TImTqelJLuekdY+ugS5uHQcn2LdUTL3SbHwUjFAysJ39sVO0SAqCYTiMgewc7cRa89C6TFktt03T/c7+Y2zN05Ymd4juVAslPnIBsJvsKZelc5cFUxBq25ssMoIeVlYxOsR9K5gjkcp+FmRglt5lvYk5B0zPjl7sqTQkQtmJI3OnW2iCylYK2duHW1F5YmsYwnP4j++nJlAUasDO3R+ODe5b0t0p356VqS77Pqr0UCJOfkgWudr8R2rdbWqVu4EkuYqgSZ/sYWKBRoNHp3h1p6aNGHgLSYowrtS6ufavsMBTfv+Enz99gCb55p5iZ6SXaAJf9ptrO42lf6qVrK8RfqaAog4Aop4jEWTSPAOTPI6mgnaibXSAlocZ8xrS78i1JrpKp5gy5bItm2ObOCmtjki8YebZjvXkMPLBJHP/Qva64aLlimT9VbC4m4U3vUVA8iHqTrvgdNefkOagwCyu3u4mPTZo6wQTuzCWI+BndiGlhXpyAynG5DaJrY98lvMNgsj2xE4blzjxex7xVB/yu32KpEarK2qTUM3eJTixFMFr2soJJCZ5pB8glCkSma1a+birlnjIshDW/iZqy8HdqyzXpe5baPUfwoCOhxw++Rme+o5ruvHOFEHbLYnHuiwMaWkqYHtjIVWd7SVpYgOPusTS3O4WSKTBJdeHarA+UKLlrJR29/aZEB1zSeFLpZ+m+13sSp1dUAYfLAnqBdPxdt0Mvf8NLo6d/d6fmjY/xJPPvQDSmOq+DI7Clv2eWi1TGbXnRgtEYzv/wl+nRXENSbz6PNbqsjsGpmHCQ7E62c7efa00Gi348bIIA9QuE8gp9IdEXwb3GA5laKvHVuIa/6ClqjIX5qUxzB9jrS/bw+uKJMXlHIxz3La9FImklj3eJuhjuB/Hb+by2pVEVHsx4wZFjT8d1iEJKivLLLfOzzzeYwRSygSrbxBf1m/BSZEfDposyjKlccZ6qrmdZQkuM+82djmCnLbysGiq/dWkQ5G4R9nySgdNC1PKgN9m9AeTwzPDXy1vsU3zaQsm2pbozwElyLId50E1Dn8Z5ZIgPotGEzMQuz89vTMElUMuYm3XBiHyKOD6mDvyiJIHi4xKALyb4s1vlHYyMAFnwx0Jry48LXHSOnkQIWXdD0Z6WjGuJcRYDa+0AjTSazBZCrhq7IIwHe+RmoHEuRdM3vy2aaMVex3Ap2jVvMA2l4FVitbZcNlvPi+7WXXR5A2X32wonNakCFWHWLkFy/Ggx4StA3fM4zEFvqiF5Ay/IAU8ZXyMUMALJfBlavCTQyo5Jo92eUFcBTcfWFyPo26O88jvszSS8+MJNhWtMi1fv6qHqtQlYQwzhZ9iR9eHbyaww1WQxe2GcJ86GZT2rn9gbVn0hL+4+kh86kga/iUuRZ6iquZB9QaiFBq12amBEilLYw5hFuWaC+6AD6mq7yd+xBV9ZXb3tz8LP7uuEqbil1e23X3EJ89HS+L311ZwMQOcEsjF/YuKOEFppqMKNw+WdbIzfD9+UNau3L4W9kanF2zzwukowtyN0zgaui/LF2UHP6KndgtCf/SnPTz6SXSU/gvJzYHYv5QHTvGz5o8bE2O2fJg/95HtTR6yzuk3nboikzBGXOGMkPlGklerpfoyn8jWZOmpTErbCS82lXp+a98HQLINHDtE11WTtKr1GK/ffib72BEZdMdj8BnqKfJjaIRwFvbcuCkPMuVvquszGo2U4ahLMaiIadDGIAU6rU4RJOZidF2n22xf/48ECkOsyW+SnnZEm/mkeA2XEYnp3inBHOsMMY6OptEEJLSuKAds39aWTWxmFVkKgO4qg2PtbljQ+VdRqTYmRGCvdgMYY2J0OEXaBLf+XMiPGvnzTZTsZ2Tq0owQMDXuTIhH7pDWA9Hlj0si2jniPs1KOXpoKezKuhplvA36vbb73ZFSDoEZ9tXIi0gRZzCWJqLD2T+Ia8FM8toujhBP7OeXZOHwm+wHVLlTTG64+D5LXwFsDMaDAgzeOmKyuSV5dl539n+iGRIy9ZTEBHmoN83n1zrT9bwK6XjuYuztpRVCRjXd1hwL301YSmFHju1tMiVUWTvnkv2eBpBl8yyVgdTHB29iZHBXj29iDBR5rCaN6FH3m8AS7FZQ7P30Pj0Ty/xrKWW7zRcI6BaREtI9Kl6ya2f9VFDrwIBXaxRhZKOgLsitpb5ZsOXFQct9JWTteJsRQcLCyeOmdDtbNVS560TDa3II5uKq60RDP3iIwIzI7DjmdWqBczMXB+u3Yt5b4NW3Oii25A59H6eMnyK/kE9jihRKAYsryUDT5lCphvUZo/sfWLbWzsLnIWzGYDhplUgtqJVAZxA9/lxZU+iEgfSjDlhVexetevo2ceM2ZQOjdTqFBZptaRyk+AEHMj4bVkK7hVZa7A1/qRsq8iqiB3hlrxFzaEAFiRUL8AH/ps0DnQdDVDjmauHDlOWBPaFlen9pc/uH9xY8zR2u6YSnMyik9enVvsjrsU3IBYiCEjMU1YBzyAHOEupbloSgDKOXirr/Hn3OKpu9F35dmt8A0BxQMb0IWqY1xWe/3zQgxn6JfixdSHIvvcSSJEtYhbIYdMo4usxrIwuya2rp4chc9hHhoMwa2pjB1fQ2LVo331tNRYCxAWwOfrW2HN0LOTyd1iy1pk7s8HOFb2np9E3/r4Z0S7M9EkJ7E2P7uMC/1blNKN92amoqpymYXPCHOAF9PB2jiZz2COywlqLS74ftG7ccYdFGkLc6cKM3KZ94uK4DD7ViAz3/N1RMJv6ohM8fqokFfcuPbQYlTLI6otR/TW2zkWXpY1L845qHam+cB5faH+tzzyBfmmWb/4Hw0ZCFgBAuO6+ewhoTYa8X0twXT0+0wnUiPemPdKBOnBUfAzSdPIZaHI3nbYp8FFj9iuay3cLkLeAOUjXxM4onVMnPaF1rJ1lKUgADXCt7FJdMwMZuGiCFvEgs2tSdYNnjtx5vVVsa9Uold+r7MqNZhSN1HvUVryZ3xrNA+huxc3oXfVkSf8CXdnvZTXkqTtn8z0uLiXYQtdku6OzkNeWS33dDkCujjLjhHOHRe+qMiqXYhYPg+dhHbtodkQp2G772tJHL9hoBFc3cgoYEoIxK406inqF13F8Ovxgu8Acdw+LrNmf6MFIIXEz27QQ3q8txz5RZY382wXH1tkKW8olSus2OhdwyZrui1yXDNloQkmycEvlfib92QaHL+DKWKNXXnMHuyiZ2aixD2ccEfUJyHvzvGXhbBxIM+l7q/Xl7EGBL1l0JQmJUHNhznGmn6Vr3kYgux+zadMMYUz0R+Gmru0JNGsVXbgZdQq5Qu+GX9fBnJHxuo8cfzs7uNgHW8gy+9r4xVnsEBJ7Kn1ta1+oeGVqbtdkfnSsKlxjBG9Udz5HE1uCJCuemrMCnyawMfMlFxzB6K2q48vaZX/RjDcAoqp0BnuVz1UNlg4AGcUL9R5OkpmQmfVUYb9vQNT6c4Q3yOC3yfIvBPPJLRNXZDMbgP49dH75ytqIrEF1BUbOvTYLjqg2YnptQ62a44nHOdFVsiQh2AYsXN+GKlRq6aLBe8FzKkR4Ilb6Gqq9JNmqUH4/IP00xnCU6vWBfV4tuUTm237Oh+ykA/qw97qUeawWfv+jdHbeCRmS9KyGW50UwcMFAdVfOFKyibGXnMk3PbWU3m92ZqcTeJoDMSRs4hhRRcptlEto8bXv6BmYT6xD1ezOOJSL1kPQGV5Vzig+ADymPqDFgEOXpMY2Iyog+tHODaZqJhsPk1qugxsbZPrYT/fsnifbvtu0RTMG3hT1Blce0HVUGaWfArYmaJ7MSnzEPnvRbUvcVno6jfSnB9sO1/4rHRqZsdopC7gmIic9LrpfO0mplxwva07Pu0RvdAeqiey2ynp7LxK7r6wa5WDShX07cvD/jFYE8fsLNLKcIERTVetKSqDtwOeM1DZDeLZeuQ1RkU+acOgBU5NLH2Vxl9vUXs5uiIbdrXeK5asXk0mN7W3D0y89iL9sKswCDN+3pXojT4GnQ8o6kyNVDPEm+d47apzxh80fSJoXaVw+j2kdwhlcWyVOs16wx9GN5dis41q7IrXoOXdf6IwghSCVn5YdLFTXz5TecMbykjt6EXr5P8YbmdYWM198r0E/+LrwdEua+fyfSLY0He+VvQXFIP0u2A9cBV9nmSdLpI7l9gZJur3/KlXlt9mm/slEkfznN7ddvdvN17TmFzCzEECvQoQxvwuCWFbzihQ3XofNguiUgrcQy/pqkx4ndHJq7Vm8Sv1SqgXyrCUeNDWk7NGqSIm41FgyeBkR3qLK2+e746Z+pFoo3IBWN3NVZyP10caVxIJfeXqtB4/njdPSvqw6TMVNqCD27F6kc2fH5Vr6cOP9xqkxMBrSYjJ2O6cg6kcBRyNZq2FnBxQihQz8D8ytjq0vrV0ISvk5D9g5zS6FV0UsYyYm4iKLDAPFY4rHwwDB74R6nF7yIT7GuwokMMZArE3klmsO0lVB26XVyxHesi7uSaq440fvGlxnoNsYTL1QzF/MhunllxQX1XJjSkN4EAeoCKpc0P1aYFbYZggO4sakeG2JHg+JHFTmHFE2ZXmQr6I/MIOV9dRG6iNCZgASVPoU2c8mKLgVpGVILS1pX4XJAqVBDPcXcBQtWeYVCfr++rmLHlmCZHdiy2aBGo30TEuxoUUKv+rz2AOaFAPY0Gkx/RutzuVCIj3JbBHjIsDwSgu4+w55Mf6GNgc6AjHwtSFFxPHkqzrXJC1kF/wAAJ9MsHRJn/YtPPx7ocQ6svBHjlSbcvhHUOSZmfO6nNV/gnKu/q91nBqXb63rWx6fBWtJWNBCR+lqe+3016d/B4rEa4zVHCNiPjTRuqRLq0zbkiAHAiIYrUPfkbnuqZF6EzprOnaOlG+o/7YDnCW0xs4GMwU8s7Gl+2cqI0vh3/NeNxiwpjNjAwcrixm7k+Uj9UfrpALiqGMsJ3DW0hmv44Ttjosk5DsdyTd95ih8SLgubnZAO0nlhhxIvSoWVD+B6Ovh57FeWHTHQNqoCOewy4a1LqZOz5/dtpmo2kXY3gxaXhIj92TTNjxVVz5Kf59j5a9PKUgL4BiwNZgx32CAYrTq3agacA/e7nudbDKkEPZ4hucdc2mVUq9QQrAc/pRVgX4dusN0u5tx7dUAaju9M/r9VG+5XwJyVGPpyMPeqzyYiQtJHYu8lQ1vKW2OWKJ5QMrhU9+aitUYsp52+7pfGDH6kwrgRgLMu4WRJsKcxEbY4Bh+CPD5iKIcEkLAi0hSchAVgFNXTDCLJdU+7TsFCro5JdKPqPlBzzCfbLEb01uu9dC082p1BvlCLZuJJy9ts/gUD7j9JreG5dnKVwJySVEgglnltLi6t/xoR6jHEYbdBuK+qdFlxU/vq31RbO0wa8sRS9zgnHsZxrc4KcrxlG8DrQMlcPNVb/DPtRMe+g63pdFflC7FMxLLpkcm/TJy9l+9bFnfodGZ3RT2WOXVCdcICxgt7Hsr+JG4B626VW38meey+I9FeUtWv+R6sj/1kAmfziMlf6eIB4OgNWHVXFi2YqRZVSFxxVB5WbSH6STf07RCchTMpC9FQH7ZU20FEygmmyMTArti+TWyfJMHH9w8kHuSSZCiprPkXWDXX4kGH9epk4Amag8gfaMBJoiXjIXLf7N+6B8slliIxRSg3wasQdq4jEIbfqJ/KDwrabHXSDLGUtXpX+tiJewiakY2BDIhZyF1DbYAAYi0D3Q450vIch65FJYCi7nE1JBH/HZpgzHpT4Gwv/kotIo8J68IPP3abSJxW/fE4pV3IzjggerSLQbyqFs9dqfKTmNHhv0hrqSoicpXNwCXzAIGKU3SdoHO4vpYUM5qk6b2ScIO18h47cGGRFImsXk8Jm2UjAFXW34nXAG32wvrD3+POdW1eToL0onLrffOgB6yXm0YNLdWo9bMTz45s+UBQDFUmj5IkGRYUY97BgieU35AhGUAsMnfJtfJ2AMaFmTp88rQWB+sEpu3bzrVBFTGG51VW6IFs3yMpZcDAbTDkIabOH/cJ157UkamT2WGoFtukLY39ufNC/aO8ckoOND/jtCgdk8uE1IddNtAgX2lARd3MyfPpDlR7Cp/snvDjBYKJApsrrneyW15ZU9Z0aIVCe7J5hax5Rr1543S7s9I+OJE5G/F2W7U8mImrNXzOAfrf5vnVFn4NTNQd7Bzecu1pi21HHSjMymeNQZ77sOHOxyXzqA+DWp0pagH2lfs9Af60E7uiJQW/FWKdCxWz2lyChxesEH5VIX/ldKR+exXY43ur6cs4dJ+9nvdiKW8zPl2UIP8EQ6/zbFnDp2V3UevI4fKJwgzqo/+ay2UxB+7cQaIX7Vbg8fA9rBpSXMRSI1EPfVZrXv7jW5D2MU9by8LvyZftXDHGhDtrhHmyPo1z3YcbG2Q11r7K1YD61Bn+AeJn61sb80csTNnEyXxFLj2U3A3EOwwwEW7i4N7HFVdVPspX8FqVhyUgVkAEULpNPpLl3lOoxoqIVFowoYdz5yVD5HxZUHoHTDy4yHvaTrFMlCtzNV/E00U6BN4kz6S8gTbt/56jFXGKl4M/livtCY4u+MvST2E0ERCPRoGWasANRA8q0cIXELY24/5oCjme6IsKNc0vGHbr0aMN9KuCZ311bix0ta2Au1Zu58xA+9V75RPD4++ZbwDpy9hgSO7KGnvvoaDeNBXljJVYcU5d76FHgc3SlAd8KRrvlinTUd0/mwd2gF4Y9PG0TMtKUeIRx6+NBwiiGLubAWRLjFYN/YUQwGSNkJSh21ovs3/1SIk9F3cPZcdq6PU4HhC1K9kEocBtuVQ8lvJTghldKsBTpv2p+ct7IqQ5onrViW98MnV9n9PE46NDgMbUDQy6LWlItnfAflwzY4fgNBid6pwZmaXoNP/HmXIzQKHOc4GR0LtTS4yyZx9vdk04ezsdwLe4CWyWinnMpxnJuJygf6g3lmkntwtLJtxadCgMS/JMvybAwHcAKaf5vqiAj071ozxpt/SWKURAKPRdbcYXFJQreLB5KIz/uHcizGrlRx6WiYA+HhYLGN4nU+KLDx+YAy88pBBC85/appaJeXJY3LhZ5Thjzs1zazUUOr+JS7KM98L5hDoKqmJmbksqna4vBGqCc1wbXvONd71HkmBANvhFb9jio4IGtnrvUI9nwv4v+SZrdRnduQbhMODlJoVhIqD7XRY37UXO4hBRgnaBISMbTWXpxrO1i259nIMk4jJnbBP2mTNKfS9pZ+0zveUga2of9iFu+p/Nn9EsS4sjWFRXQsLOgxgohPcxcj61uyN3j6I1egNpyYOXkZyEzwMEIjUwkzgzgg7QsQ7d99iKo6+bOwT66JQ2NRQ4vey9WkIHN+9PlJRpqUc5OWKptne7iL3k6tfB9vxxPI3B4edFftWW0qki1rEwLLjedD0+ZjXMSWvcZkCYDqewSL4I9N0ypJXoTvnD0ioiBH+uiDFxnbEPUQMLmzvTYIJcgRZzaTgCG/16twk5eygCl39fgQRZh4bziEwQ2eARmWg4dck+GgZYWKo/ZftapJccLFLgYHpIm5DHqBg3eOae3CWvdRturjWJZPvhz3cQyk6QnWxrfIt3qbB46XGjAAJ1RVclrzyttD7sNSHO5kzsozE7q+iaQuWU3xRbiBPLQmDevpR4kqICHsUJOHWWPhWE/Q2NVnBL7QRMDBi6P9s/y9PG0oi8x2a783gHDyJsWB6nDs8nbVsDKcH6o63a1S2MWSvU33gvBBmKuEJM6SJokU3JmfnbxgikuOgXm+Sys5M6K7mgPG0jRXpQVJx5LQNYm8srZNEo0vspNUSkE4rxMH5jjKLn/KeTT9WY4x58YwGfyEr0VYlDRTbXcj83tIJ3Izzp7WcPu9hMgzp1/bcwHCkwXEsCWjcSPJ2uMNmlyh0Do2pNIdtf5D2mzynd16CBYQ5g2y+5Wc6QALZMIO7fEuzDnDSv5w2vvQ8lxLG+ljUk8bCkUKguPfRVkcpnFYgW/lI5gTqAV72pA4bxDHJodP4szeNZoRIwHVVwphTOt5R2aJ/CH4gcDhPm25eOJV3PKRuO7Exu6HoUCj79K0hVWTwam9InMGH86gdLA/1NsgDz4MlW4bLsk58eGwJezIH0KQOjj9i43xWB4zMmPJSIXtQwu4MFhuK+fkZqZyM7MrKeTPav0IE0iu1GlW21RvZMjLKpAXpXvAsGSMKg677stFZfM0tw0jqhycMNiWaokVzVpjnfKRmW+HVn40SXiCp2FgeajYXoBnDYpfgm+6QE4TZL6eW7VvquaT0U1U0ZpYHvnkRX/4DlUwpsRIL/lJCnPJsri0dK5HAyAwDRUqV4MJa/R5qotiVtqip6oMpKwed6xpYHudRAFvnZQYlv6kegE76KYN7Pgij2sEDj7G9LmQVvh63YoBxGLTr7u6p6AW0SpwORvuY9mE9Oh4QQo7kxIgBs+O5FFOvMIdRFKGyi9h8+pfLrOoQT5JtQp8skCIYV1e5BBVtsbCKor14W5E18fiYPJIdWe2dhu7JZp+pCYR10/jlbzAPP9rmFP0Tw8CAc6fMoibsOFgoWxQ4fdcU9muqq0gEDTq7gfKJrVWIe6B/RMRg2pYMSTqnXVMdEZVP/m+dC4nnDyPlzjmCAvJHKx4i6bePVO+7kF1hMSB1jFdr/ae4T16XOKR3IHa2IyUOh1Dx/uvb+QhTQG8HMub1PL3vju8f5bxluAyKItCUwg0kUMxcJwgiXi1//PQHtCebQODYUZBbNJ/aMJOL2iYwSM3jBxcv710QQnaSeDID6ZZYVbSw/Vn7B4+uxWeCdnnwhx1C0CXCzJOKhy/hhBX6C9WDHOuHWbweS3A16u0t34CJgP0eZXQWmdVTv73e66BW6QJPQeyz6cl+1ph5VV0HIsdD72cihll8VuYEwT+eFx4Zz8FY00um7+afzqMllHC1n1ZZTJrHVNplsd+Kg9waSx5786q5vZCmK1bnEJcHudwtlegMbuSkp+JZR3uBpxaXRCIuCuRCoxmtePDQCBDMn5rLE8HvkMEt6kiAkIqxMnzpAiwWoOV5d7eA1dd/448n/ayBNm9VR5XVZVWa1eg+Jntx6/YEsO2SyZu91dBbxa893pvcEFI1M6qEvtqJH80f7aO78uFRkOXAj0VXrZ2S+fR3Q5t0hGNhuz6UkUyvrlVCQtfRqrWSdxUVTxpl2CtXAo6b5Ho95CrQIboBOLS6JpxVI2qSY5TynMLrXmRr++N85ZGux3a8WcKwCUEIc4kGItmGtSvR8PxTlEZ67FRMiWwAf+svLYU281PIDAImvHWoCiLX6hdGnNTGuQyQKJ7jyuzlQKQ1wlOmXqbHBRVuKnOGAjhhckl5mMd4W/bcLBw0LKZzl5b6PEbYuWRfrlf9BsclCW6OWrKkOtJYcIJr1y9Fu2uySqCU37xzRkL2Gp0rXKu5PoSDaBP9kMZJHRLA3H0wNAipGrIUnTIVM5UpHIq4NWSt1b5K7gqdhikIQj/mn4nkbg6VZ9P+QOkSB/tFRT4+yh8ndrPC+M91NxDelWCMEqlk9MuZG0WMI84sMEGYOu2juxTv+2wDu2E+sANSmgzoG0TQ2oxO6bCsKqNatAnWjiT6IkNrgR8wLu0dzoau39tdkf3sA/Y8RHcQgF0G6ekGmqBhbByHC4D3qMQmFe5LpYhuUoktn4gXnTzjpqklyY6pF2r81ps1YtMmRI00JUjcbu/MKauqt0DOsuA9yek6NR216tNkO6hJhXdgSS+NfzOgyxdkF9a188glNHLecaR3OJuN01Evxcmt9ZcBT0TzW5QWt8YrKSzrSEfC5dKzuaHyu5P9BtX6fAlORnOEtaaDehowRfvVVdSswDJvMJQKyn5mQ7ctf+kPR/dM4D6os/5kcQny/xT/+cHQP68jrS9Jnnz2dSPTmeDzW4mUfLf9hNOiBkNyA0bV6B6r4p+HX11uZAWb54PXsnm1EFMcFr8QuCNs0prqjVzv5cea/2hJh9LUAsCbpQ4mNkIaNIZDUprHD1VGva89rcMB6tI3cwUeQ/wjQRO0NBqTXFirWcOAPhQHf0w6NR3rixrmR83NoAGyLgedUY5Ft+HvnlmIpglhsp7tghsruAO9w6u8PcK0EtX9C/79b4Q0bi+8woTzTWfyjz+U4NUy0fbTR7XIZkykN3TD8tJARoeGi/535nL7GYKj8IIqqtxUvVvEcppoHeSB6EaX7WdRRZ/06ayFyNoUoTttSG3LEKOozK350bO1TYerst+u9e797kGx7pMx7drTwOGYiBv8pTlkvLRCMcwkhYa2pFk8kNxz/1kMvYTTXA1NdBtJuGoeT3zPYwSTKNRv7yTNt01tgarFAdY1mvFa1JOtpfURBilxbhtyV4XO2y61dCu5jR3HrI325Ezy6eHcSjCBOpnLhNohqcYP+XPopXyQ23fS9dGQMD3dlKZ6cFlqVMiLmtNtHxKQNVtcOQknxeGHDE7RpnCvwEOSFa4cKe7u6DYlblgXniob0Eaj+6EMCNau++GaMNkYY9xsy3LUx0W0JN7+MqTYmF4UJAxWym6gVkDlQkrRkwEOytsgcfnEh6IsTW+Ku2eS8N0P/v9zSQfOfKRKbBOMUTXw/PnG1D6eOFP06Sk/GI8NVOtCYooaolqPjesw+zvIlBtmbDSpx4oWUA5KbZifgY0XbVw2bjFWJEeWYPXx55NH+Cz+C3hyZQbPiWFDI27xK+AemnEqawHB+ETr/Y2Br/j3oPtjT4qkeOh6u3iJQmqOFXYgKVNtuhHd1D6R4h7D/ZOg0bKzG6zDLIhXVXC5psRS7Egmk8EWk9fcuPKqsHqI7EfM+QnjAHNVCJeEKPHAuWQ8sTM+gSMy5TK2VQPwdS2LowzJb9/2/c+GHCXO9o6Xb3C5adraxWoscHfRerEjegmUJ2z4YpVGXeM2JbrtZxHO0b7tcj3mvZ01OevCmFLxnHzk2Nj6thrti15yd1DCsmtm71xyazvEE2cf4u9Rj0dziGmJczWspKdiO7RSzSAEBceISe13544HwDXx8aESNam0R4EM0OqIvhzuD9O72dNpAcNxhx2Sao9olybvKhNf/cFzrQYDbRarqUmIPk9w61HBQngnyRlUryqa+5CiLiytKUw/x8N0AF+RdAMxnpwLl8oZwyJ1wHVh8pfIn+1POc+ivWeh+RT8NGZdoHUSksccdwPeLnw+oQjzFbfqYCCZhIwtKfvA/HGV35PSSd9LIgEZ2gLkZMmlTVm0+Doitk+F7TqGgpFHngG/6cbSZsbBT+mO4UTFtUtMiI6Knfz08Btj7NjXV8dCUiL5ZgSITTRKTpQ9Hu9Cg20vMUtO4/vxuHrDMcrZbzHnivM1DZk4huonF19dSWWxU1Cl9A3VI+wGhM0yWAd6Xpj11c29Nh0GbP0Rh2aDuLEC9XD8XrYin6fIEp4IeJroOYRA/a86vYU8KFLXYDgmFUuKPGbiMyXtKSuZ3+gdVj1u0EBNwTi8ykHNSvyXlVdhaMiFZif5YmrjeWEQoshNIHgnen1rS7LUtEdyqfkJ7BF2LctIuNsNKgLsh2zexTxtXzX2qHCePQ9W+Qmu+XHyKQmE2s8BTYJqqWHoSVEkxyQP+7k/C9Ir4luXYD/7cSNBOG5yC4B+iF26izuYp0Y0U/Q7WrR+ykkUnQWsa8rSRKLp5fQhQFaxQ5pPj2x/IrMDNC6ySRDGJCgNfD+zZilEBGJzAMsCDAK6K1/N0bE9Pwkb8E08i5eoLB9cZ5Y7n2k/LOxPvMPjek0+0YsYHkuJjdPeEiP+kT+kfwxNFW5jE41nTnfI9hB1L2lxclaT8WqWbiLkjRR2rPZ7Mhvr63EMnEq2NAlpnV6wcbb7fOBq2kqwWgF4pA5Cv4szmFnCCPr5BP9nM3xbbzXvXyLJxpgcCfG976z2CH1aE2eTFFuk7noVg4i3X7PExx0XfSLDSzyB9U27jgxp0wwa6CxEgKBL13ypOhCR3gmYQ+gOooMNDu370UejOaFtf2f5+5Nfl3/hP+Y6hSwV31fxWqDdIjFkNC9uToYrNw3knDhW2rY75+5eDEF/eU7WvOqi3IdiPhprZU5sPiYEZ6Iuuq+eiW2CDrAJFPxmotsNw+IFQz5qR84SOsnzSjLIMqC7VfOLwNnGSCtrMUigf2ahxzpeSyFUEtmbko0St7G5vQzlioxisXd9GkmVJH6GghwT1wIKGog+jXbPS2Br8DoKDtw3h8eid0PA0SvPug1PMZ+wT1vl4kOqdcQc5jSCGgJP9F3AL3FrHq6LqwCgC7qPVrxIYbDOXy03UNoTtExZjDvDW9a4+VBoO8GEO7TLWAPHPKksbJl5ucqMz/3R1s63Go/m1OgqyqxjwOCRiRMfWnn0qfcFYtjdJHFMY6I7MCfpdV90559HKdmKsxg5Dm+/iOaovZV/Mds0X4KM4nkNz6ftrH4fo2dALT1Vosa78/xMjlQ2CxSKJVyU9zjf+5uq8D9Hoa6jJim2RqnPJSnVSqf6ZvW0WnvpXyvgeQgnLg+/D2MOUAQUVdddS7BKCp4UHo/6HBTUn6quoaL2ukdspkjyEFHqT4eJ8NWXbZjsHEy5D0mcIF7kC5BkghtdYSjw0tfDJQ6/8BjvcZHanS+Z40pUBXj+I7WzyoAv32u00E/8djxpkCMBaFjgszXWaGG7xZs7+IRJr38AN/ubWbsMmKI6iwNe0m2iwH+zFCrChkVHGI2TZt0OOdJC/R0ma2kQ66MhaiUlyYSuB0qjeUd6N7giWtFSK5ZBvwBkjOob7D7H0HGToWCNoSAyWuo0b80vdRFWnTgqWRwjX4zl35YO3bC/bXi8zKgalHVjGjvZ50L0ZVVWb3vNeqHzaCKq9hFKhjlcabnKzKMIfYdzpG+zlOCEyl9VxXyfVDyOQ+8KRunIwhnhSunEIcTXJ6/eEUTx5Yvi3jD2e7JcM7DV+Uzf6m2+vn6SXF4qBXXktBrIzGWFHTgLulDS2mb3Ho6Kj9ZwZexFCqNVn+4jre5byOwe7ZrPboigjznt3lTPFolf5ujncJRiqHJ1bfCWC7q4cAci8LJggE3n9K/RU+Ls8JAhJ0GzusnsbNDls0d1vz30T1FuCtJEZScyq1FgbbsKT+e+mvtd8AA7zow4bRlTBsyQEOZSEaUfK9ihwzGAgPaOKezcHyZyVEm96drAivsxRtZ2eZ0CQePSMjK7P9GQHsCiA3Vnk2jySv8F8SaE6lmpM0jc+mzg+Liyw+woBWT1k48rparNHMgR3WWn1+rdFEYUecHsxujf39ZiwNmYhcskjI9rGpjyABaBtt5K6ucCf9XfpfeIlCAdimg1YFhEeaydv7I8pfqRcBS9lj7ymo02hEcCgY+W54iU5LuEaH8Cjbc7nXfUG8iSm7b5PBYmrCuSl8f//2NtctfeyO002a4hIv7Qk3bfJpjezmuQeOTYRo172dlES50LoNX98aH81SHvGZxaSmjxHq6lMbV6H5D80BbOPB6vOvygwxRTLqpqQ6k+fjrXoHJLlfEOGIc97K4FJJGMVD6hI6KaLDOvbcNRglRgCZyNAfbYi1V8sXypl4sGs1Va0Wwl5NnpBOFWVlzxSHH/rzKpKu39gXwGQz8dQMwW8+D4Ds6wYqskRXJ8VsXljsYW9HNXhn2XgdmpSbhEpu2aaVrx8DQMNQktdf0F5TbqWBt2uzNE4Dk2bdu1VvntNRSUxcDH1JCEnGl5rSKSrZ2JXnmjrZVJnIyEW7wy99cwrjRZVvwLg9V4sqsDGabBSuDq7JQHUvlK1AU+DqPpu+vg0sOwMglz1ICyJnm+U43DLm+Wrew7GLANeYXMmSUyOYzaIwchKbaNuQfy+k2onE7hJub4ogjMT6f9fkEVI8L43wO2VmqFeOeDbT9lZdcykVioW4etSzGf9/dCQHdyX3RnXfrrF4KuXs1qlM+a1rHIZl2y2FlBZ7RrwrNcB41MOYOfm4FOqyPB/cL7sRRTBHOn6z0sHbFYjjnLpanedyasKv5zN799Gq+nHlwpzAmETwgBafoEDZAgOTpIwlPFxmmUDqGdsvkXnvRh72uxjMtt5ejNUxg77+ECZWkjlKEiTy6nFHsiob1ZtJToNqyfZn4IV7JCEpnjb1pxu4Q7bokbXBq49PmTi9Ya87KHsi78bOV5UMk2XKQThCcg+Zgj1cXUN73CrrMC+XOgtf/W+rkVm58kyXQBk+QA5Ks8AeZcrGw1osmJiXvxTq2xufmtluFH+OtEq6ieeVa7fM0t48gsDgaqiDQbBW6BnPCksWX8N7+uhi20b0se32CBdoD/FvRsKKTDlTYzP9wTi6CWn0CNq7Hu3PgwEGR6IwJrQwcCkxzJx6XCdhaXyuTzPpILvIp05mk09W46eIsrquqylrILMLrN/cyLr1ph6hmnE93Y3Df+J8wvWyXqzKdMVXiAK9jLdqL2kshym/tx+c0bxvA+/OXjVJYK8JZUw0DvKdyMZUllAEhuycZFJXbnv2jnt+M3ZabUYjbMsXtWdNlOrb7sNNN7GEHqX9KiYpTa6EMhLciFyjiDZi4ocwne6ST5OmUE5B5pUBq1PJLK3aky9EfaYtQaVDxgHbGo7spxHdK0YqMBwdNTPfuWYQJNMVYMz8CTple/+jC/wrAAKW1s1m+GLntGn+Q3xmZb0OR20uc+N/zGhO8LVbST1Elgo69JrO1gRSOYM2t+erydq/wVd/vvVTrNYWL3thEeAAiNrOmZJv48tpzsedivj44JrBLIKDQjGBKJUvymGDMZxQ0hESQ1aDcw5G95SkprZZd/RK5dH5gYFy7xRtVWqe0yS2f1FXooFPtzyTFqksiP28KrR3zzVhtKUIGMrh+un0zVA+9wyqiH4rget5l/N4pHJWFZdR9sxm6qdRM5b76B3l3/PhV4O/WBp1iTfu7QPQngtmwe4stDIlqQYcjgHLRiTX+20huYKDgYSVnRHPjIfKq03E7apNFXUztGFv+UDa8DBWkfiReAiHrc5JHXuaWv6cVF9xRLEU40SQgWeSbyauTl+/DPULkvJVQJwFzcSPo9XYbF5ouSD5wxfGprMYihJxaL2p8+usTDPaV8uRTUKy8weN2t4YsHIKtpxnyoL9oPKqpz1sJryE1Xx6q674AhZfkTGIp0ujwA9LcJ0WtnKwagpBIMX664FTDZhQsvUAywMULdPTL5PwH7TpFQdCFInGpzjVlUwfKkYXrjikd16aeXTcMUTH+1PcH1fQgpHRzw9B0Cz9hx8IDVlw+6UZanVVIpdfqrKa0DrUz281CEKuySCDZFJSTigHLpgmxJ02bogdC3/ZIII6VoIb3qR0nbVHQJrBv22RDz0a/wwUgg8eQV917wZWnOpvkOI0NlJwAqJk/uqhGuaqK+tSiCkQCACt+of330RM45OtaV4G+BQyGzmJY80nX7FiSJCBDBWE9swxyqyzICHYNCPwN4i88sF4LwiwuHnbR3lr2niMIVXObVBkTH2b+fV+6Mu7Gxtj8k5DN6qwqmxhIvKt/UIdZVQhvAhF68Y3lyBH1al3S2QTrDB4O+EtpthIhN3ZPztmwTm441PHoF9EF/i44UrUp45u+f0J3t582dEyH7sYSEgrqui8+wJ3mn1+dPLhDSk6KsHB8xpvH1lsZQ02ocDz0ZXtNgs3UMqyQNb6jt+I70vXiwiEAP3ZhIuKoZpM1KZlnq9JNZC7XSNM9CSGweXh9hkX/ePxOYJBBjKCO1+YiSA5VMWPzahdqJnZmPRAWxO/lFSieQRyCklTo+10GnwE96o/SB4CdXpWep93Q3qEqdgO5kpR6zIQYvHWBgNWU9qRltxr6c5IYXuGBhErTJZXrBrXeJTZIWaj4Pq6y7dKeFXVxj8mPTgPibQKu1+NS9r1eePQI7BVK4GOlMAMaW1myGqb72Bp4jpbhaHbAL0eW3TkYApkSSJCM1DIncmSrwExVuDuQpWbX2HLNl8tXP29wE0Nw2ddyKx1I0L2yoH3h4rszSMZvHTIQxkyhUiaDXNd2AFYjO1QJU+2Ymcn/I0UFZhGa9OPU0MdeB0eE++6Qjm/1bhXV/TPXZ/n1SthpzrHutzV0+4tnKWmdLKB0TpRPhX0Rcfr59Z3qSS0pmHIBtS53qdWAg1WeBaHiCdeSH+GE2CW7+o7T9DbETziU6bur0eDaKNLYeoIgg/pO3B8h/zn5CrxhPFgwaKpTxkm1PDVbyTr5OgLq/rOLe96a/YHqa6bgYJ2sp+1dJAfuXz9r0NQDWOAG48DV15recvbrtOBe/EIJXUv2sZ4WXq5nsFV0otNig281gLN2+SFIaIdrMrirTtim1ThBznvdHo0/b5fQO5CyMv+LTBm105fD+OMYm3dVnL5HjKQHc2JArkg1wcCFGS4gK8ofH0AnbR6VGoiUcqITE3sDGzdEMoGicuoigL5qbVU1JJs+k/Bgy0OT9/huejrrqoD6+FfEWZMFB9VeHFUhN1U6WIY88K2RiDnP7koU8mM8ckB1jXBn6akNUEX8e+5ndMr1BA/1HSG8Re1eOgE+TH67j571DPuOoDxMxOKKBxX6yir/CmntjM7LoALQsOetQl/+OvD0nxBroXB9qbjn+u1diRPLFkrFkqYVtDHR8uTfh1jwsvf0yXt0HjoFODQJKgpLPeliMnxnehI73Kuh5gQJrtixNqxEeRHYP362VYiZR2HsfiERi3LrOLwCFaSu2gFL5BW+qcTbmzE7pVV0AswphbH0sRwDySiw5/SejiDNm3i0fg57T8DwXQ4jXpq5kGxXJHJ7i/q31DTwDkN/5UMa+zzDqURKxBZl+LGL+P1fIDsRCBWh6Ka4LPj4n43Jm9YyJgzbe5bzspGfG69T9/X2mqGaVnoc+b7uUzLy1ONQrqUFnk0BkeieLTqSs344Zk05RDHaltT6Y6kCBS9puc7qBRoCcdMq38xUnGrcdpLUArufq8EDmJPiPmpx49WIcZEedYLO+I4UiwKEWOahSpAa2hCr2FccDRYjZGFjcv07Vp4IoFgbkX/8UyF2DckUaZ7Em40vYQ6fn1dQhCTunHcnpois87XcyGYK9dufxWG3fBXGLRAxr6H5lHfeDie1+vPn/7/nUxYPzUtGJuOXHne2KX6gataLi94r7u2PLanks4h9bK/H9jmFNtv8cKbGaQblGnBA7/NVjm+b3O8gRDOr0x39Asonj3tEXgJDIOApUT6Z+iunPw9UaA19j9PgL2O9BHaYdMYCfgGmAkP/8KRJEEMGDiDQb6+OOB4y7Nh8413SAmiTGD5kQcvbQ2syGM6x/SwGAsikQIc5PBv+6AZTZiRWx+71C/OSGa7fvGL2z6POOJZSKHbBHOkkU/jC8xSKmduhxhmp1oeX+i+NoxgiW87UkdGcdvaQ/Ydmx1KI7rnryib4LFvmotOsPwE3DFYK6F4unxUnvDg1kGZLQx42yT41oOPU9nzhIfvl7GaY3H2XTtGFmTaL9tt9x8qKy5AZr19TxnPHjuXgJZHXWhfeNdTEV07lKO8IlunyFlfEiqIPh5xoMCr9UyvaCntJxMh/rT9mAjFPqaYEgoRY6nI2sUaUagiidagHbFOSLf3qIx0cWg6Z70hbty/wDSbdP+uogK99dfGvKpdTlkqqonvf387Md0BmqCwf51+dhHa75BTeBzL+kdNlcPOWpF1AYBCey107ag8gH3NUYOB4NRX6WGyXSNaiHyszwUzl+47ghT3oUY+no389Jlv0w0Wc94LKj1HpAjbttJrLuK5YFfcofGpw5kNI4RGOkbN6t2N9n36SJTpZ31qSsM8YZQwV9XgwGse37Ua+g2kh3I4BfjcdrEKbuBNYoRrDHek/wXsPe20ct9N1l8c+OjxOv1Ub7Od1rXRuYTHf3Dlgy2clrGBxNC2M1//J8vS7aKZTj0nWa/uDmZfHYm5wjQfqBz93FR2+UMl2PK9GUqwo0qP7dDxq37g6uamImwRq5EFjoQh6QzTtBrmo9rjPE7E/42kTUqkEo+Bs5ifNMuAWVBPyxqGQz1QjvKrPqWE+8V/JBpORc+tDHeEevbaE3TXK9C3k/9xFVW+XfOe76ZEchJZ1y0i7aREVKj1IQRsAju5QMCYo1iQt6RmdtxI2Ky7PlS39Gm1S7BTHjxxKT2LS9Vin5ZekKbPa2IkMZfLbrGTOydpaRFq4zSPMHXRIm8ItiiN7EQeMAdLSce0NPWtGljAszvrsSl/OABvIO4cNiY0dl79AI7X1AKdxXHpCrUXHWn37s8ZDhEM1oLxZqTH4YiqS1YPl36GWiClQVq9qqbcnJC7axdSNJCopdayqXyKFrp1Eb7GfCTkYwnuR91UcShKMmmybxK6HrT+Awi16YxTVfBffz6rN227qeA7Pa71tr0P9MeFGcM/3Wl7dBot7/8VLkEaH7wGelD58WTdLFOaFJpFjGZ+lDnfH0IuB6/M45851kXquOYgFbGGCBu1M4zEdcXyfnL9sQDmH1bwmxnaqGQhi3LTilsiznn7ovDPwnruQvwvyiLtCBC1Er/Z7TLxA7R6EZ9wbKUcU81v6YF7tzV0rHZ4Tv1dvCvL8oXJMiOKCJDhMDV+jPKe1b4Zp1kSNyxS2MOR3QM8Ad4BQlNdhjzXhn02xm5K0ux/qquW1bEKiyKYBPHzqF83BAGVzwLPphGjJcAXz7nfCIDb2gpdlBkdsB2oD1eC2v2Y2xs6kunJ9w2/nxugumhR+Xy45g1oSy/LvkuOTyfDfM5497zVS20VgViOJJlUmWHMNH5YtSf89VuSxQQXs2qat2Tle9vy2daBPcQW/RHCBsCmdJhQF3kz7bKCeSwG4chRwjf4j+igD4i3mLFWzI1Ve9sjpG9fg2Syk4wdU9MWCzf4XT7ObZyux9pF0J73AXFWBnXoMOTSwJ5I/E9OHHJRL28DbbMxIjVFnoqRdCmaj/k7zCN306/fRyg+Mh5Fdpq/2rFEos3H0PRjZYhV8DU8z3539V3R3Sph6BFOzx/Q1lpC+3bfF8T9xXktEh6zdob/paBykfwMwit0s7Bq4YfNDlgJAyW3iKY2LPVZJlF/1jPoxLcZ4alVMjN/B8HHkj+2hdzm3+cv2ljmTLGGCXRIHiPu8vdGCFLlU23JHwI4rDm6hn8i3KmWBSYZ6roKCRGOV/ucS0ytDfrSq2J+xsr8NryYgMa2rtHPHQKw0TIZSbiDPs26tLgH4cLZJnQh8xiuB7F7Y3rBLI/rPSst5mqDHLFlT2x5b5TQG8hzB4ZCFyrDhXwf80ON82Jo/gFS+C0SyDqwIP9GrOJs1/DaPkbNmmJ3ZpPK7Bg1iYGJpVqjyVRPk3tYuNzjQ6Ju7qlPyu+GmabJv5DReG19Rf/MjEMIbks0k4WNULhho2zC3iW1iozEtY5Hms+hqiUzpSb6S9mtZ79lgYEZ4eZAscVDIQVOLrkNHive/eR2luSc8CZ+X5RZWs3KXQ6J6+YYxzDzF6AqXsP9qL5SNYrKp9IuJlNX+qayjMFHmly5fWSs1hqEMvZUznPowNuTHk0p9CjvArG0H34t+3QSnJ9siDfq/PNov/QDrb71MUEI2YtipCrT5nDmbPcF+bspr2sC8LiYUQWiFhhpkUiAB9mhDjKXjutll5XlTR0K2hcFg/r6Yyq8ImAlhrl8w++J0LuwCp/HN32sNXFyKey4CzpXOtalP1uqWs/pnhE3lhvKox8nYEktLFIaupS3jtBed70txapGQHr049rqyB5+cU/pU3veKj6iXEYzD3U6IFObJ8ulP3t7gj9DPvEHd56SPzCENH8K9T1cLSltw+F4eWLaXaiV/1yhouejndOVuC28rNA5nY80GOH+PNJ0gRR4IJWv7aPt8qvR+3/Q3wyYqeZEuyo5c9V+PxI7Qelnnjrfm0DCTTUscMj8L4yD9EKsbxdSQ6NZqJR0W65xvyl3mPODcOOJzM8esajZMeqeCIb/iMhN4LQrmgDv+Ehi/24JB2eY3a8xhCrkBwJBVBCVb2gqWCPEwm/oygvmgF9LIaCrmb6mcQ5Jw4rzJlVFj6m5UVs5PneaEY3vnE1c7X2zEE+o4kRpTqP1i9915wnsBmHNQ4kXSyxmsGSgOlh6QQCrV0CH5x85kdk6qljIHLd5Ynjyjoss0TpKG72RknO6XyrTStAGalumizJC+TUdRzto/oBpdB4c2fV2xppzKtp0k73KEHCx596xVJyhICO8p+bL+KuGtC0GuSuZMi69nUdaWYEtgsI8lIoFa9OBJ/92iF1/rBFbhXQkdNPskyW+QwmXxIs2CdAEhm2UFDfw/qN5nW4FJtdReDvwzeY70omjEcqUiBJManZGewXA8J8yG30h2jW4uHmTCavDJYyNYT9dtzckTfFnb7JZKBXVcQU61euIf7x5Sz/XrBxkmm5e20F62MXCQiSp2+zyq9ex4Fk8NZCn3jOglfXxSj5ZII0ydDr3XJVE7t8h+0UG+ySagxVhxqKv4bhV6KkOkzvsSnFT1XBRY4bCM4NJx3aWVXVjFddHF+WszlLTfmcwSh9MGANqovbmZTSvh5kvUXvtUlsQFH5gJAWtXiXgCf6Ev9gBJ70HVmTzRV6WEyVh1Bn848o0xih+HZbUlGcyYz0l8EAR/ZMIVcU5kmt4tRKzFh57RD+F6tYh7vyiC+nKbO2b/aC12FJjdjkUVYX6XgK7RNYqIg258GAftnCBt0WKKsERqZn5WlAMW+KV6B7btWG5gGeJIGnUUQEHpZ0Xp/aqpzCjDHtbnkvK5+kzdKkYmcF0w8F4lftWf/y5BEMwNznm19xgpWwsddj51zJNjOvyvovVJKYSN4snviqIRo5pv0xIg0dGh7jOMH0sj3r6wquS4usHfGLH1b4H3pm2QYfRJTIom0ymnE0vkpJEJJBacukDenBS117QhJHcQ8/F9TjELJCf2HAlzDP/VgpQUyzNuvYAqT/oAOloSvjnMebRo2ke7r5vnRhpUq8Mh2UD38VKzVZbufr/qR618NQnomTtPJbOu5yB3RNq6PUAx3bpVYkFncVUSxFcYFSVeQuuOd9ksbIniLBrJKvw43tW2imC1D1+gyoA8OBSuGtIWQNnmaU98g0TfRPHAa4lfReseiUyJcMMojmmzGvNqbQy5WdlCAMZzGuWSRmIeSGPoK9gHXb5cRDdluFiwCjGsVyq4bNriQsq27HHRZXTy2qREqN7zm4QcWWuY5B1Vb5Z/It7WbAxOBzBWRg2sb2xcvuSgjiMpxydVHfaYPZ9XASTHw6+U/mFH9L5dSUCVTdN8ChQN+FJ6u9+QmJLTV8Pjitn9PU95Ppb1y8XMKksPuxLFuduvjJ4AECbISns44EGRuVfnnQcU0DV+aeRMkeDbNd6jI+qTvM1D10i9mj6dDU1UA0wB96b6YjqHQU0iOsIHN6+XFw57P1RA5t1HiMEQGX468igsBLgRxuadPylobqd3dxJVN+Q+DMUMjVEqRh0qxfx8tM9hCxKKHDceXySAXrMqj0J12fG3AjA8VfW2FWatqCYqWEqnnBj2JcAVFhk96GiV7wimTZ4GuCFaR/RBQ46nM+UoGSU3nbmrilSow/X5JR09oHutzd0tBUZmjiv9J3D3MHZ1bz+RvVw+ED5Vgkz9K1TALGApDcThC6tNvBIDNLsz+sO7f7JOJ/OxHgrPIFXLypjOqP0ZWcbGJW8q1kLiVC5Y4Ar8OaB1xpVufyTfeyqLjFS5uj80qZig/yc6GXPs7M/7DjLUM28FOd80/7mdDWJ48qnNmNDrMAug/X5W/73jZQLTqoGrtdmk09AIxn3u40YIhCPtgQFmzuXiPJQ4RDET0Db2fd/ETHVJkAf1bP8AZNdoBj4Ggx/Q32RStgnz2uEkbUk832HhGRaXyeP4WArePtc9KSih9JxwcUhWz0x/C77sO/7s56KyLAPozQYJ71M2X08QAFia3J44qqCwshr02wBx6ny0NuqXikCWJsFgQz0q6HfM7MT9/VmKhX9azdkeE/HnRZPTBXS1Pb4qh+tp1qmfjFdPlrPKKNzhjv3iS9ffUW7iNIry82EE7D1p/q9pFvyEw6ifB7I72irW2a+5bLNe464aHmmU383PTxsL+YtktVFNOaeNjC6Mfeq5MlXr68o5LBrh6uueLPTTbARX41nYxh9ki5ewWCDLY5Hhy9cTJTSKihIKc3wI03roC9/SoO8bawsse/7rZiGgk5f1cKjzPk7F4nmSFo/p2iV9naKCvS/w/fKgClH7yix7Nn3a2qPo8Gm8zF+GyNWfFkwyliH0DLn6nmH/+BsrRCOftBXYpDmLxS0NwIiOr/bSe4tIjnh88KYIsER4O1LSFHm8yfVq1/FQTmlvKEc2ZzCQO8pqC/fBCM8Qjday5ImgR+qZ3CgdvFEgcxUDOsXcg2L5M1Ux1FzTCmCGn9NcY19kKnDZp+yETbORgylDUAdHazELw7PpKBx6O3HBF1uH4ukZ9ffxqfSoDG/p4eNnTrjqswQn1FnTRtCQ0G74CX0AG+acoY5oML3dK5qNivN+RfIDYNfTuO7DlekuNJkbqsnoQEVNudUzFu7dbrieBh+KuVSj1QQWdSGv+2hr/ebuownFBY7ikN6kJnA8PPb4b5SDExPVOHRa+FP4kBWLCzir/Tk94HsHotjDbXZ+ccgBxkio5+HUjVHhJsT9iVBv5SsWv3Wj2kBGeZSDxtGvY7JYKJKzOOiwXm8MDGdqQuAW5o3QNxayVWXFTLAcuJ9ujdPB6V+yQZ6L7kIaraqHQ4yQr35lOXhLIZ9FjdG/o0XE3OjHtN8glGLsl36GERZr4M1oNtAtwmxsqf9kLZ6iJdHw62faabZOgTkfS1ykpd68MIeF1AEMQdb3wGKnGjQ11DpSRGV7tHuZ2tvWFsR5SJTflnUwiVbjt6Z4hFhhh46biaolshpZNMXxlatMV3qIKLt4XMDbhXRDDwVs9NWfPSuzTV1ZUxJ56pcXP9vASMIta8z8kC6JOM+SM9Ko97LDHCPMICYZB9UULFAbFq7sZKYJzDBAHJyp3VK5qi/LHcbio5u8rlQtXtGO0U++agVoLKK1tZ+NfKnleFnFRb2/kG1LUlzhKXyXjxC6Pmbwc8EhpOOstPdSpnYcRURLVCMNStOOejAD95GqPXvC3r8W+vxjOT+hCABxrRfwu3zchrfmDqq0+8QsreHlh3Ou9wPZuNhoadflVtZ4zhq7TxNQbFYAY1X3RNjdYLel/zWTFruVLFJsg0AS4nmNn9OiUct/MRbbQvYK1ttyaDiVw68zxY9TpRxCZlHnvP7w1J8uNmjC2AW9KhAkjAmgtA0GI3evtvgjST/Tqn2j65uG2W1rQJFCe+/qv9WknjuaxZfXoaxavMPk9ErI9dUlH1wfZuUoTtWh9+J8EPn+24nocB44Il0gSztEt+7U0FsPToz8EVQD5QynEWhvOJljf46FsJHOSmodOYvO3ydq15NblO6o5/zUjUdBocICm6EQcH5CgjyGMjd471SC1JL4mBD2EfAlQLclFaK90/oZR7+8pp25QaP2lgVaZPlKQiH9zyE+ufC04nIiFxFlyX7SgQ7afsF1Zo9RS8lgNYlW3SDa+YXoknGBvBv0RyGUZU6cmWvT0xBrXlLjrp+yYHaPjCHW64ypDyOeWOXyCwzEU6blf9dYvA4jHeaZkTqOmP5MGfAVchU0rbZ0qb9v59SRCWX0WmTgMiGDcyOXOgnDDZrChzksXSlImXCApjhD7+33caM3vT2d93M3q0i1Wcq09KXGptpYfAzFbXLYAsps6JsA3m1iRQcAMtj03xJ5dEf2VWtnDiwLDY4uSkVvorVRbBFfWTBvZNcM/TXrfjg6Gh61BIo3gP/sAorMKlLOKQPjN18ctigTbQaWpBGpTjJwOUpom1sUMv2UwuSF4LOvTy8ufC2hAlUj5CY1u+EdWDNpqlJq1WOCNPrpGt87YiRw8gXGFuBQDg+cY/DJ0pLeYPLnPBUIgySd37xs6Y0PHearZVLuGMfPDLbK48j9nVaBy7IS3lANQF6/FOtyUthpfCJDZoYeKArvXPcbG3ATr4JigLDjkr9qzAvu/6w0CTqTXsGRm1d+jIReIMyxK52dhtIIB/19EQ664g0Y+ZbFSz2oP/XZMbUXibxxe7igmSThb8/nQLTzD9BeinoQd07MNJAGdA3whDbb0ylBVOfQSfkD08YxgRRhpv9DOZlIzUneB6N0tGewkDdw96fbU7DW6lpqKtgjcWFuaqirrO55pkq+9kTeCx8RWNmlbmrvjJqPckADtBsEwB9q+C7iJ+Nk8zSqO9qWCucfuMH2eVnzWBWp1s+zSCURxE64pOUpO5c1tJbnimyfDTdq3ZA9hFCbRGAeZDNwJ8LCC4wff8muvu2D5C47NjBLgZGQcHIKGsKD7CWEH7cFXYY2sTKMqnJ2cbPQeEYaCa8IChMtkxXiorJM0d2ngy3V27OGmhzsC3Xkx/NAZ+/3Fx29XBGOwBMMFvkIK6IaHfEZ5Jh5972H2TaPVZBVfJcgcFRGftV4sk0l6Nv8CxCItrVJKMmUaRIdg7dRf5VnhxAjmfEPMamIPshjArpueRz4R9JeYAoIVv7n7IX7edyD6t99YlqbwDA2bKaKEANoLc94T4VgT5+mDYLHIKedl5oIUrflL+9xeIu13MfPSGq0+o7PES2ljTZTwOKi9S0WlJfMjlfc546Dq6OikKU/9rQO/pQBEQJDVGM2CTro7s3jjqmdzW/mCFILtNq/4jXS7tsbsl/8+vMmM/VzDgUUHWPespoaRZUQvEAoS7JUk4rK1p8QGwL40/6b6VOwYuDQ7s8cPFSm+7gSxbCcqyo6nVViA8r87rAiT8ARVamtp0PqgFV4VB6Qr1LkplaihvHP86A5xXHRW/xAVuVtrzPjWXTpC6XXWd0iN7FrOQxoJqVTmLljUx6uWQggHQ7oeTDtjNURIt9VUsGZU/T+8Ri2tlFUJFSg6REYRjXtg+UCjiGo/5JklQcxs8ASk8HPi9oh9GqI9saUuBYhlraNpfxh1cu8ryGBPHyyGIDuoSJKml+9Bg4ITAURfyEvRaPMGPQMoHkJgelSc278xQWTxuUc8Q/2KCkxvgOnORWtstMr06+or+EjK2B5TRQs1767KQGQo6HMFBs29WgJxs8W620iMD7gkexg/jxgdiic1nYuX6JQyZyCzyUF8jIzecnJXd+ZYMzagkzwPHTTzszK1jfITO7jbUigckrReAjtbrbqNSRwWW6aqU1q7WqxiFDmDw3aw7kMFYa+4zMUGkwlisZgUhpOsoaZdTAsH/VyDw/vsSlBeKFsve5c9uW+0LWGF+QMVOCV3vdJBblZM0fZF10F3up3ueLfL6zHlNlPAB9UBarxz25P0+KMu1LXw4+ZN6AvSVFD5fO8yrD1u2Zmc4Ze2/haH4OgYOZSJqSQQzQG13t3wMqa3cXzgP+jLQqldYVbZMjMifIWLqJfDh1wq8jAT0mEj7UxmrT2YidL8A5iw+uQIy8Y9gBqAOOd53WHcUDVfwOqRcD8wTWVwJgH2k4coA3hx8JPdUh0bs17nhpaMKcM+f1q07IFyV6Dx+piyvvRcY1YmVPwW0zUjvv2f23Lc81oQuxbdFno8ro1X+l+JYvmLRHXWpX9tdIBCaC1MnGOYlnB96L9fU1NNaKvxT5wIedU8uYL07R7dLlSZvmLZV0RgzqWIN7fd6p88R0GWZ3TnXR9WejWOP1jw5WE8c5/SZpvgBPCL1ogd/f2UW0UKn24DPX5JzFDFA6eku+d+mKJlZ6Ub192Iuf1xBPJ32R4TeK93haxmW0EUOr5TS/dFx6PcNlWDyP1df8wZIAkzN8/FGni1bjVHbENgGQS/oNWJyiYW1bo8xIUOIJjkqxXQnBYrwYsuhlbn7+p6875QGw0ZXDkUyTsUk5gohdDxjqcHUN6ic2B/+JMQnoBOV9hQ3SWHIYPVCFdgBEtYPECUbm68HOTQ3AjLGurW0PQbyIYSOiGjwG0F7K721xubRBwxxYVG7zL9A1WDhrdg5sXC7FgaxEuY9p3s9IGH9P92T7r8XpJ22ZZkDDAw/wEFylkToxtKN4+WE/BGJAb24MP5gVZ307a+HxFbd1Dtf43+OXKN/4HB4H2K5zl7ytkZrgUCh7xSj3whu8pYS/fg2ESAjNSv6+7+Hu0xpgblW/Vu9iGE3BU3+hDYWjNgcf6MEIJaor2Ie+2W2WNW5NOOyiaq4gdAykg/Katru2VXXUKb70EmeO4PNH1ZWY+YR9+6AQuGmfmoN9kX7iPb75OyDXJ+a/0iS8OxrwDZRT57muJuLVncs63lm8foXL2UZFqAOZrDmf/vXwIetjP1367VH7aXCa4KqxKqqFUDDF8LKohVnOl26phPDhjyDDfI7XQk8lIvrdeEU6Coa1fRH91pkttbBuTf9eKBlXURNNG+dpmssLH2pnMtU7weQPk9E1zLkcue78Aw7459Fi9j3EB2lR42ix3FV/G/wCwcjSL5QpurfrsIfjPW/XpUCzTQs6SrdwjyzecYt52MShfX8Gi4CEn350T8E7iwsAIe5Df8FHo2rajQYut7KP1yjxg9dJ5PLc9Ua98mwVj9DRtP0f1GdZlTCiTnUdajloZa6Ox8TW1KM22cZQJwCVfO+HHRVDgLnjj5Z0NfS9RzL8juEeXWOb1RN67N/mWJK//FmcOQo/J7SQzjhItaNVTas/pa8AhxOuW44iyNCb3Dq1y2KmHLD0bxomjxqtN3JoPsqgfV8jdTVyzcYOF4t82WlJ2CI3uzsnd5hBiuBFzgTFmdOhci0Za7uOJF/OFNOybY6BwzkHa+hChQ40J9Hp3/K0cAKQ2A5UQwJcyUKQnN37/XBOSh3YHaD8jlRENy7PLluxpi74iA6Rs1YA1+wVe3O92wbIgz9UwO1OhzdM9gDkulTzm8urrtnz54WFIJ3UiBO1z9OQHM3eceAzFsX0qbLitmaXxoo1AMoFkQmp3m0dQS+9uUHxrD6o8abukm+6q7izOyFZQLWMTUumpHP0N45PUfxaPoD4EM444quKm09w2NlIeoKS/oFBILLMLRTXIg2HLg8edTsw4Jo+47W5iLSmM2jTUPSpIx0g6s68CSuTG2Yh+5SVwjslMs9AL5DnjXDORwLQkZsFrGTmieZw8KoeM759pmoKChi7dFj8HLc0rR5eQrEFNW2dRbX7tpRnBUhSdsKlXP6cvpWkBTGdctWJalzQnOZKLBDTe8aKnPLhqJ9473j9A7zvU2lvAfppg/nGGgk1/uzbpFBdR+CMrTlRcGDZj2T2Ut03Fw/0v4pTXj1pFguX52re0tczzCUtDmgJrxqqsjDGmoiEyZVDF2jhNCc4/+LFrpniSeN6Qo2bOlRNlK0uoOG/G6iqoIl7Dryw/TpjXyvVK9H5bhS0e9UlhP6Ii8qZnAOWxYf81k6IndMr41IYeOOSG+cpj5fClxm2PZ9DRXhKxxA6mI55fnbtuYE3FFmGeEHZ0OJby/acbmQXTQa2eNaBIvq/j7Y6wLXgybLTRxc2UTC4xRMDBcSwtAIJTX1P9ogmXmwGPr/U6dlpf+Z+veYtA9QUH3rx/LI91M/suvn6SipkRp0rm6HiwVDIqsBFIwqJRKAmHlRDTnLB8uOLDzoF5pHVaCGWYWP+t5BViOJZZqCH8bNBP904acCIu07uQXUrN4jIracMZy3j2YHZdU929MafxJZDOeiZF72RJtVaS59N94VKO4cx7HY0ua0olMW//KEPG0sHzso2jbW4xzUDDsV2VikJ0ZNF1AHDDK/Pt0kpip01MrFtf0C/IYVSA3tPDpqDhefRoswdEiQ9hZTeK69wAvlbmdr+VZbv5fddpKEV4mpzCaHGZkhsT98f+923YuKx2azV6JR4NC9sOuHDlzNoEJs79QaGd/poSQF7FKLX0tMm76fxcvJp2KLAg64tWoV8usiouPGL2QXzKruavP5E8ystD+nLgEx6acs/iAHRqMSvrxW9NaClWwdOX8GbJixPf0t1W4Wu0sHa7DkqtceFK3gqtinfaHRIaygWKsIPSa9/EMLUPBMnFrNZ0xFMo/rS3VlFxuZylhRlqX74HUbS6ibgn6bfc024FOcaQeYERigkma0k3Q6L1Z+UhOjfXO94FujIMLz5ZLMrPQt5doA6it0iI2qwqkvmMfEsn/iu4qG2JCfzKd94RWCdgpvFlkTejncDr3wh9N9oGaMccAt85cvGLX+A67OlENDMB0kogHed9K+WRoB8jfurbjqHeICQwAMhaNPBSTJuw7+pn3KMbnNU77A0K4V1lo55bepcBXotyP+gHOujSiBjsTGd2QUzBfsZoixM2CNHUCbtCBRCEzuLnChH3HPaJeNa9x3RJ8zTX1pobIvpyO11ikb0cdQqdz0ifNWOCgdKqdPDujBFjXplHcbzxaUYTFhcTbVl0Q77IkE58iUC6T/Rb25VmqRwDi0Xmij1fb+Wkrh3JOJ5kWkVzoIx80xpzJofS6vvrD2yDFFxY60u5GOOI30El1EGIGTiZcgYybqSu1pbaA/u9oDiO0WO0LYOjP/h6lYmE85pWjm4V/cpKRNKJW5Ohjx6xTbmsHxocIyEyvlyU0AxtIkq57AWEjZIBV0ffRV9j7np0xE6vDf0ZUufmS0lM1UO1pDYp7YIKowau5mmQ+MsL20+E5686gGY12rzZkG8eSDYqSZjct65lrot7BfBRea7EES4QwAenAJOm+gA6Rtm0t7it17ofLUkgtRjuntEx1FZfv9/YUSDahTvdyN6mFSqo4WwsE7aIcWn4CqMg6FmEbiX1RvmTxf5PaWQ2I8nTfAf+IEIarPi05WV80R4CoeNvUm41tO15AD47mTuwAx8obs3jDHvM+N5X/452HoAo1/Had7sGIPVc5RMknrWOcIBtrUVh0Uq9al7Pc8niOlvoaLjzD5h+fm/jxpliPhX2XW8thggoxdWVUpDmidOnGpKCWH0ZV6GRSNe0gTqYDqAaxVOeVw3/VRuJhydPeN/By/FNlH8jK1XfONmlffXKLfKarQnofG3MnI+QbJrgyqslNRiUCGWHX+2WCKRLkHrkcxuWTZQs8o2QDXgQtOkFJbtpIThan3jmmVPBf+VdOKABo9R3//0prbKPyBOgSvgZx7A2QRp84IcV7zmgK3gonFgPhejn7Dt7m+GtFI5vykSXbjegJU0XMPubX3DgqzV/Z4LlwwKR2OT982iYTd//ZHZJjwJnrzB74BcgsU8zFP8ryTFvS2j2KXXIBPnpZ6O0R57pQYAJcNotQ4lrd1bM3D0xDNk9avlTHNN2ez4nn/3aFp4CqDpQYglYX3fnbx0FDB7qpIR4D6HZiFy97f3ZsfUwV07OwHktSbANh8sdgIAm8g+AASWX+Z1R94Wc54X9SY8xKiW3DnxIbbq0tNrpiIeJTNWhOTWb+dsdrFzgWbnmcFcoiYNNQ8VZ4lh0BkyFXeEnp1+TQfPdK0nwYFTJ5WCsiGoyGh7Qa5S63lmeOKUHaVsrfYv21rQQGw0OJhxp1PSohoSS0evlEvmD470ecQWdJin5LH6/MTZPpRPWyRkgvrCb9kRkdNgla5N1/pTHxhkmZlULBY6YQYOZgzhD+nLeFm4Xnn3N8SBKvccdQsJwNznSBbinMpY8s5txzQ84MatvDAtFAOgganziSRDTduX9xFAjGgvzAq/g/8JwFPWkS94aWUpVGK9Q2r8L51Tf+oMcFT5zfw38DeD55aJYbIyM9bYFLOmSqzXfnoZIr8VqtaAqqxC1FH1vqKRH/P7NROjLjb2mi1cKuuWl7eyHxrF1kjUaiyP2zytfSRYhhqU4Ff41HexiTm6YAGWq5gCWAHV53NbL9Pq8Viyj96KMTjIAj7DaYrqH8p/7zfJNM9ykkZs3siWz4kywZUUkDBButLc4fzfjkXFPiq0/xqe3mKPYoVRarzcrbzwQLK3vZmV6jN4JW0eSDZGXU/h6EsBoaR+akr+uVpoypxHsaA4wDYBt5ku+Cc5xOW9M+esR/qF4k3tSarSxa1d0Xrt3ydgYo/IkXRMoJiYLjewhQOlUW+7VZKTN01+vlbEBHL52LH5Tr0fCLh5EyEfYA8d8tES7/FGhHJyGv/Z7DMKC+iaUeMYXC5DXSj9YCMovKBlBbyRAYEDEWNjNRFU9su2F/GmQMkRVSNOcDkrRlSFKKqSgeaGFOqxLpqjwOHDxunRXakBrAjH34Db4POqko+D4aAZzjUZz4PmlNmwAuiM9giIdsRcBwpsonQ2OEbn2x6BQtiIpZgb4pRgdUC+Xg3ZenXpB8gd66plrtcEjMcTtvVt/P7p17cGCzVXhjhy9T1k7Vb/t5nfCv1KZ67rva7mcUaftoI3tGqn3EgCS2CemPC+TcrBKNQKK9LYUXMlS900HIK7VhEpBNUCg3XtdLwlrFBIftbR+YaKBFjhTYJtLZevNgJMk5W55rP/EaaNJzMPa8IbeheQebhknHYBJ79y7+pztyaKg4/AbqoVluvfwHeglt77bL9FiWLkl9YV0bgBCT/rD2RMB1eEfA4t2+WQ+CUV8ami2xI9DaeMrMbDYZOIqP8m/3LaHSrCRu+A3c4/Mwuiriy6AQiPNiFgLiWTdLlrDCFWmHYAcDsNoYt2roQR2rJf+h5fX0DyBTzGP+ZrrZ0A9mpzB+z4Zn1YceBJHLKdxpzOQq5KkwrO4qSU4IhycY++xN/srX7SZylrChQQ8kRnul7TdGZPB8hsjD5y7sNNbvIlZ+Iyk6diGM8JurrZ5FavcISGyZgPlgVG9Ggi3ff0ZK2TwNWF8r/CVBgDPl9WuFN//65P0SEtf4hcrqByIu/PmqI9ezqMDtEu48tFRT96HY3hOgXvpNBZWQrt+lDHdgG/pZalfL5ZcuK37pIlCP7ICqfkxGaOSBp8mgQR2t8R4o6ElZ/TrcgDXLiGWC8pTSYF+ccETcLKka0DJzbOC7jKRghGaJUpiYeQzExwKH+KSUlNc835oGDkUw6ZKh5fXB8XOfflVye6x8AW0lgiAIlOOgdnsxLfPBkezY0abuyhB6DFn/IJ/LImYvVz1i9ws8jOlS9u9mmVuARyF0UO+WhbCAnLtX/oWlmLVDSDpYYWZD31MTT8j6tgxKVo4tE0+abYyRTl9HiiBO7OE/WvNh7ltYezgBmlk2v0IZp5KDx883P8urZSUitWi3sbfws1Ub7y0O9tu8IGdCaH9TJ/nMivikLlyOmnR4b2CNxDQvA9g1DgjRXgXg0aywZNgMQdUKxthg2x28EaGwJAFw61q2L5OCDkvlPStXNR0l/Pq1blF8oeegKVIT1WvhLWfRJvinzZfF7J+E8fjKIrc6c+Loe0/kcyBhxlJF73sJmZsxodNxHQCfs1ex00NlNgQ00OE/aIy9s+SmiCsQGQy6qr5Fj0sx0A7oVBDstT3rfXToQttPe6xk2hIyY6kXuu1MEUfZ6JnRyyGEnb8+qtRhPR9HxrDQN2UvPA2mTtjZnjZMh5EsaqhYpsWqE9EKeHbwCqlbCC3osAniLPev7JhEHVIFV4OQnlODOFXYTIs/EHU3gpPmJFPY5I1v2/wpwHOhi1YyFgBDsa2thWDFvkDgiFhwX7sykSF4Xeu+pKiLk7gt8wKuLCnOksU5OUqG8hOOJZULkq293vfb/Mk3S1d5XRUNPZuqT2SdUsDUs5a9quUmQVQACqxFBZc8aXH/15uAxLYXuS9b8a5shzqFDCS0kp+7J9jGQoj3CtvRiDCmHDczkssl/1CBYLcO3DRpb9Y0tiiU9Kf1HLEfV5MQsthj6b35WfMx2q3kHVJfhf8EzQDL/rMjNqUs8E2GKJFdMt4Ir0t4cFhY/tIsMr51KeVZha5pNiNd7zilHjHZmgWVM8TsSMileS6BnTXv0StnTk2JgCdlPNBdE0hzYANuJ/PlAuYDh2MbitJ5UUE6KhjLAqRDJ/TRFm6YvJ0E37zqAlQ2MmAT/tucCvIc68EE9a/FVIaWpOw0YqeuLIj6DQ3nxmJa5xFbqBp+fmurImbZu1cGmHdLpbSO7R0w42dneqbuAyeK9q4+gWAYYQKB+hcTV+vK3LFRiklbfjZvZXBs7G1EP+UW4DD7Sj2ngzcOAwTziprOTgPjH3B9KgsGNVj3fJADFrBulbyJbnXPZWQ0iBxf0TyXdDBgrfmCx43fMowllzNlhHo2yGsVuGJN9ZgN4xOCqvWkLDScXUR2IW/zKX4pNO9KVy/T8MaJwcyGTynV+s17e282oR3UWQCKy3P0ocl3sLrbvNeFBbEzoiG42cnea8+YFEhkFCYeeZfdmQmTrgslr7Tl2K9knYnoUpB70u1s6i5TuEzDQGkH1U6UC7ZA61bgiw54L4esSnY2xLDYiKwe8E2VQy4/QP37zuirsZlvTL5gbt5xa6RnC0RquUtBJrS3J/RazQlqZybtvzQgbU5LaRmTn4FChpEt3BwOplxGVE3Mup8FAjNg7KRTRN955c4ROVRtC+ys3YQh5nTIiMnVJWod4XldATEEcCUX8ezGdIcEvyXs5jZRuDQP2lpHor20SxqwVb7CbEb24ooOWzB+9QSuAxdz6KFwtSF5pijS+43DkEO49e5Z+wo0VejvyMqzfpJSD+vctLETfw9SsKJle5wpraaqiFoAOX6ybdyzpKiPRTNrWUQCp5uJt9jS9rD7kEjnguHKEJhCRcUptyYRaDygZMOki0JvpsnYFxxP4m59XBaPkAp4AMrDe1iL3iIsRJq0k1dVISsixZ7O1UCG308Gnv4eK+5nOb6bPiVBxr1EkEvzZFDGhWpYechybJs/YvCU/PAv49kNj89S17OnREQ2ET7TbYxa+x7Fjd5Qqx0Hcw9oAEp8OrtV//63JsDfNRLK/4QgGZlFWFtpySEsfpUOrUYDiSM5y/Axs3VQZWYgDAi/ou2zP1qDMZH7zAFXsHhSI6fKY8Qyzei61BuiFoTB2RXqiTYb/yQBze/AraDY/qbXa6ViNTIszMFSHvinBiJKDeRmSfe+b2m6OXb63xkzmAPz1w1d1yFg+g/Vr5Mocr8EwwJVwq7dxgGQabMPsPGmFwkAG/jXJDBaAB1/qLAXSg/vOIOm7w8aYU+cvG12zzwACH8Ueyc75VjVlpjONoW7zwUi4ms4eHC9Ce13P5mke2wngU4bTENtHocJ4/evPyQZnxkgyNdr4dXkMNhf2b2WbL+2JPJge5dcq4wfUFCwmK5fGjvwFnT+8EvztUagcGCNB4nayzd2oJHhX37aKDndbOdQpuSN7aS6UgN61EQcQaAX9qbyjJcNQd+PsoHWU5vZAdFpQZBuehcs9mMGFr7ha8GJ9UqoTOBWo2494FEZdnK8t9h999bXH4gwCwoRBuXd73s6hOUQboLbGrxby11d4yLaNLimvZAqxLRvWBk8BIZJDhwswjQkaBMvs6Ef7XBuHuscc3yoUKdVQZm+sNzhO8dB/iHQx0D9/83FJx25DD9uvhPeeknpyCIamQW3DKAjbB9TIA/wQY9DrKbVUlSRiHT3k9DmXHLCox+SrSFg37lWV7fwz5kAiVBDVrliaqlmNu7g1VeunVi2HCU06ayqiYwHPcwwsvpc6+RQotGPsaF/zxHEGLZ0TEA0FU+NcW9bryyGojFCrnsMLriZ4LKrKYOK9cokG1Mml6Zw68B6dWMYubcPCJdgfejtRKrUp9Iub9Dfh5atCKY6uDKfxskUvAT+5ZUtFbTq1L2Kt8R44kkC1FGjcZ31TMj7Ueza5+5wz89eu2na96j6wygDD3xNMBA88ZHHjjsRpZqFxhORYC2gwjvcI1JP7PDWxkQZ/Dn9YGiAMsOARRj5a8cv7rc0b3ddIuK5/KZ6eCY5ua5T2JUNVStkdkyGxMcGYgbkrUpRaIeINpCz7xTrT73c60y76S3I3zRoP9MvJjn7+sjDJQuT0YvMlvsdhzIyD/3U5afgJ+MR0SqzcJatYVMEUN9spizsnL8a3C8+xHkDPZm3RkJyQ2LXt9MqbTiQKbGjKiZURLYITazMugL4i/B+FduwF8kzrQV3OaO0Pv6ODVsI9MPFEhkdiHgWf8s7WtkYigPBxz+XaqpkUUNgQ0WsmLiXG86c0IdeJIy522RpF++B50LOjhrm5kkXJ7OnpZt2oB+VsvRxzKO89Jup64BcEUnjpopf7riFLEuYMLlda1CsheH0rZUuPr5MoCeUERgR5oepeiYIclkQWd7NMbEL58aOB5viKkhxD7uD8elWx8l1Qjx+grmIBiY2chRxzvQqgNzvDQIV3R6NqeFIUFAQFRSnF7jIANbE+e5L3A9PcultnPqsJ905opsQKxq86fCAdm3RLwjs2V4LXRyUMD/cwSz4Ps5uMDqNJFiG5CJIMWpWsCDZFYgUC4SXuvm26tdMiOgTRr1EqTX6UBbbBPLyXPircOg9qUmKSwxRkb4gVgtrrUwwc/HY5Ahsudr18Y7RDprpSl/4qWJXhsWSqBB/TtOOvJRCXI86iKTmSyeslFlsO4zJK/FRPTsSB9OT3IyyljfJn7V93PXwSsv+XOYP61J1+2OpmqDxSUmFxFxicb+ObG9PE19WkQNmh638BWzoFQN4Y/t9nP+f+s9F8Bd7K77KOQtS5clOduOWunWHjemQmYsiLJ5zLi19JZRVw0gND5hRvrhmjOf0nco6bnPvVMi2oISsso2//0UsX2A/akM7JUWG4tisgGF9fnfDwBPWv60Rh/nWPrzCPE5VS1JL1NsnnTQywxZMds6EAU0EapBA/+/DtQk1SpsORRunHuaKxrVDSsI+ezuuoIzbHpekXs2VJpwZULuO8W4GiBQS8LvDuMCTKnVPNkk9KVKgq/KOlfihht6amEEbDC5okgUVbcVUmr6SPSIzBLFeGFN9RlqOvU8BcFsgpOQrIXUPu0sjFj0sNI/HmZEk6VUOUC0o2Hmek8tzw3As7DPTpYlcdyps0b5CRcUMAPMJYSQCKebDHMdajT9ET3qmsGAaYFWFcmjBtqjJ0ILd/IQZiLWdON1hD0KtiHQAxcfV/oXbPpmuVp1dgdvLdRaGS8ULJkMGXisiK1pvpLrJh0ttU2D7n7X0byYQ5m2wTPqwO6Uxaw+HN4td1TYgjlEgytQaIQA1jPLQYYAhQoJTn35kQS5me2V6Czas9VtlqEjDhV4iA6KCQ5tgaIKfJHyVdlmBwUFU7/EeSNXsvzXlQRG/VN/uBpNLwkeDyf52MjaHT74EuX9lsJbK784kEFAqP77r6A4YpIsSME/pMQvY2u/YPssUkV+KYf4lZTZN2z1a6W7os8haXGEaDQXesti/M8jyR6g/fXriS7ex9jH3kHWZMOKBv3Qg7sPwnCdvcGh4KeR+5g0uf04YNVPHsmKz9UdP7pk5JNMtzkiAkmOHudxQq60xnrF3GkqsYiuwe8Kp210P9V8iJaJbClKk3pK6ZSQRdFnupDlrZPFEsrBkgKzFy49qBulZPOj42wgj1JbE1KPMEkDYRLccvYjsJBIrL8OzDJbhI2TQbbBs90gTi1KP4AvgNQRu80Q/91W8w4Ni1GediH4kkrsClDOLQpyo2pBNL7Hwfrc+0lIi+5qZUUh1iPm3xTtaa6uiPaVexo0iCxYKYYPYvUpiM67VPSgkLIrk8oyiismUoInsPqwPVcjtEaq8Q0OZJ3SIexXlLOzF4rxDv+5iv+mcazRx0vaxFY2oUPuRaJng8efdW1XVTerNrEWoA7Lru7RgmdZc6FGGgehbaPI76jfl8mtIk5nZTPd3LTz5E/orUPyPG4la8Rq3dEbbKRwbVfcWtCNa3o20WRW4f5HtazYgkTS3eUXKAPzVfXWocCUOy6XFhA0dyK7sgzcpzG69gCNkSCvPSpqlKyHcZX3ppGc5kGAqfODO2u034y2N7fKwrFGBciymzp3c3EFiVl1YPEgTJ5rmbobSPtqeBfJ3xN9t1/3OmDK9nBe9yCr03xAp/hZMR6snzGaorr0ifQyfy60W/mycL/nSI81mqLtZIt0R/k29q17yXJwC2q0JpGDFE077HM9IshW7IfYpPBn0peoDU+b0dwCxRFVA21G3UiPGnLOqAjXw30UuOwkg2FSSdRzNuiWwxRcvzD/HRKsOa3H+44dQDb9FBFRxTnhnK/07JngNcba/wRm7A76pgMM2DHpW8QrfNKI5LJZVfW/utF1ldBmLeDyKEFZ0Ix+7hEcFUxy9VweZxMvsSEzzO7cDtqLp31cACQ8k09Nu7ct+4efXYvuiWqjRZKwIi7vMlL8DTcd/pcH6u5UsCDz1S6NSA52APjt611kmaZ+/NxYfVAshktT1aLcy3g/TQeoT/HLt5lugj7q3OXn2ahEnTZnVxWHHZmIEQkMOuoSawYd8ORkr/U4UdLhXEprD6J06MWNKixL1MLQyLRJ65P+f9FPtghr0SKe97d+KkHGRq9LLTtY6NZEN7JN7PwTxJmv/k9gCsPgPbl/qtNw5KyyhDwqjxN35RSBqom+qwCGF4tEDIVxMapKQrNqX/ib5NKoptP/+fV12yvYb82//j+oHNBe8SqMS5DNRAp7Iq/kYgT0/fpQdZeyvo93ySf6WCvMHDmjkdZ9twdhnoeT0BkP709oki9HDuYT4rUte39+raLJdlaFrNJlJWCXrsfmg1nQbJyf64YRK0m7Gqni7v/Q2ha9JNewkpkuRo8GiWRmLOQW7RfhREg3cxBbuITgz2PMQXOyTbfI135rvoh9yPQDXHLE7qrTCRs0q38RCpgY8SXHeXlEu17+3SECErwfTtFGvThBFZ+Dzt/19mDWRrWlcwI8VTTCtm7+5mhvx6nieneX9ZBi9DvLDfEifmqC3G1040Lvk1yupyMUJOdIXIgUuZjULcZIl6wZ90YwwsmHiX0n/0d2nDSTdclXX3nke2tCASQ6pXetPbRGAbcMlYmSD/xcFsPNs4iDVJpbvrjNspKUTSaNHMyZZdnrEeDoJC75P3P6Ad5qlM1tpbOXt6QjbS/jmXoFiaP7qmcrA2C1P0EDNrCK1Hoq8x4n26emV9/NjmSjQRKbMBNxshBDNuaIkWSkpuqufAvJd5E7bFVXvvnGHJCQcQ5Fniuu6fF+2ww1nf1isL71I8CHo6IFAWvC1IIutSUlLpw4TNOVRnKVtArFs18kMicI7rP0ZLktFG087OOVjxw3OTO9i2kevtVq9ZiaA9ohPo3VYSAqqIub9eWUBu6hzb7NTyo5WnVTNfN5LVK5TzmPm4QlxZ72lRf7dNAI3z42u89bJIRnv7wcMvc/0HPiKTqz14037tczD4IX+3g81Pk5PxpukvJ7dVDNivysXs26GqOjr5f6WcIWbJemZr/dg0MiyvoTL1Ma+RwdOUWylfF67/7RX47Pb6FRBPsrPXmPkFetnzR5eqsj7P0euaRzUbKvU1PSK5s3yXYTt/tH+ZXvX6VEjRF/TQ5fHCjGiQkF2kQhzhXE3Nqgmxx5wBxAaVkp8hhsOdeIAjW27Ci9nliEOQ7C8JHgw2BY0IRAIduscob/CKzOmVrIL7wM50onZ2Ncr569j1fPECDEKca5CkVt/hHrjwT4Tzeq/CxPkK2Tdc3BHvIZDbJgFQL9U0Y7bSjK17iZe3F1I75zk8wLVPnvgkNjurDlFK4sSCHvnJ1a3ZObV8+6qiEitA5fsSzHzk8XaC8yOF+44LkeL7pWjx2EPliexfEnmJDWDSk+GdBtwxPEpwdH3WLrq++IUwi0DbOjFTZojy9bqCLJDOfUWChbrZroHp7NiLzYJAm54VZ4tFtmc68Udn/tGVX7MtFlU/ZZ+LBK5YO7WEPcpHH/VZAPGCcQsXYYzYI20p1IiBrt4UmG3oHsIHhOij7HhMyU1E4p4aRn5gVqOHzpm9z/aL05+1NFRMc57f8mLR7u385Y7PPch+tS64FJBzKaQhYH3I6VpfvU5gfwpjocyQsBat3GntZAXDsu8wRp+YyPhjriw3lJWkl/X/K6Sf9KVeUi/Hla6efv5MCeS44v/p1EGoHao1yhrA1XpDMtFOMPrfiLj+dr5jOiZrcj0DfSliOmsVQAQif/NzUK/UcABht62n3gBY6QC0BdI+K/YjZ6cvJIbjxtymI+bI/I3pjDPARqo/fByMMAPMDgc23x0bmC6ihr2coALs3jBRrUgHZh8y8NQV6vE4VXCQ/a2f2+bi5Mg1GdFc725syiDbyaQo7kacTCnIXJUgEFkBp54smUKF7J1pGz/zhujOfN78fhsIhN2TrOb5uXELq70Yj57Zc5UNNmQxAxBaBCWp0PLUxhLy0sOGbFlvkGb1wErIEwAnvv/URG0QQqXicTIPT3yz3y6DURmqdN1cwGqTLOLjrauFOLmTxZHh0AsmhfTGMiSXx5l5BG8ZjK7dqalz+ECtAWWYecuunv0709i+eWkZVI/gQXN6Mf/IDnGubw3rr0AWSFiBbhjYOVAYhh9qApssDhucXF9Sn3w11OGmBt4XWqNHdHy3YQsBvVPGEPExwg5ry+bc9mwEuzddno9OTbU9XcFd2I6rf9tekFArkMF6m7v8mHiyynIQgSDGqFwQ8shMyyu9A9j3N4glESnh1BNtZN5StfAzcrGbHFeMb63HDv2loggw9DO47bb55Ct4nqNbtYnCFpKvj/YhRg97C35krh/y3jn0fZ34Gyxfb0er/VfvqY5Hag/+zQMBK2dA7nUqk3pNd/rgX/rat203ASa6G3g7G7JZcc5IcZo7ZQvKeBGsQ16JvLERQVkOa2CHuQZJlylrFMz5fyThUItg+MtO0t+UFRFYdRKH6FulMziM7JG++idhaI+CMUEQNC+FKKkWDDNYqbiDRNdtfo4MlJOPg0jBeW48WgozQ8FIq0XMiN+gxZlmv+juxs0AR4Vs632JziImw2xbs881Np+/MkZWZQ3AyaRT7C7ZtGLRpnZxCAmTOQvDVhKSrwgfen7XDRfsMKkocCzxH+CGhcJ8zTGSpYd01FpEgjeRLW2c2Yrh6J6DJmLD1mttSKHOKJnu4cO0zzY89WgXK+Q9EsJ7Dv5WpJABdNDSGjg7jj5ux+hhb2gCLNqv6fwpdCWzYjDMXk6NzJQ3BN0iClxEd9soF2uu4uWnL3T5lY+WUfx6iQiYG4z+ZXtWlU3Ae1W/xdzEnlZaf0K0wIQlJGucI6vom8IH2m+JRHdgUnn2x1Tzk/PrJgTHsPLxjAaOOkh7o4i37uxBUbE3p8S2DkNoaoAGp/eTeRz20hys14pv3fVpCzH+7NTYbEGVpY97gV/SaAD3b3WnjlrTBkeiVJeO0HrFcqKh/N8EiyCe8PgOy7m2+7/aUIdCm1n1p1VaKRRN+Ko3M3gdX+vCW176Qacy1Gn/FqfSoC7knJ6nWS18Xf8saDOVb5oLZLTbb3B8/qk1j6L0oTCVSss/S4/toMJ2HFAhzhLAdPj0/aEdAxJGh71t2FW4KpbSJmwd5CeBFfcv+WFIUUYg1DL7wEiAKYKQC98dEHKResvUqvU2QGgRCezOfxxrWnxML2C3ioR5XvpczTyRb400tDHHly0eMqXOMwRRU89NvYy8vlW0UxPii/KNoVxtMc8zYQLEqReDvrCKVKu4NrP7oNIJXbZy18SOzVtzcsPiotgw5JefrlRRVPZzP4lq9C/v/fFDSS+ZxeIz/9FJQZHjj92u9hfmEEb1LpMhgZY+vVKbvm4E+ofHOxU1Vn5waAQv2AJ0SqLWI1WrZnVYVBO9af4abTTsor2PcVZMcEuL7qEYwrUVfAzmpc0R7lw7W8OwbxU1lhqG19IVcUvGmn8T+TjuI91Hu0QT2gkiBEcm7Euwh5zffdzV7u2gBjakudktXVld4GFWYYY26NqFIjfRhWcGCRfqf/DSY+/N8AhSD1pkl/7L5mk3jyQm2wV2AKUb060yE4b7lK6Y+5r3N7Zr2YxPD2EbvGBQIBA8f2Xsbrmpu+GtwFIyS1xCY5lyOvaJriLyv9MOMRFS3Lfduq9yFVzyQJs/zJk744fXI69o0mKBn+jB3OL53sO44Dx64jW0yjsl4mi0yuqnNH2WaPDTgJpbjcKQ83I5Y637JIpEf3Hg+dWwg6PjO/tzdklHzpsPly5mVlSg1Rpy/LKo5OkRYeuI49tkCWQ+Hrvg/bsWY7kgOGyKEbx40ItOHpB7OnrgxqeMyjSzewOW7kvAnmqZbV21TSOf72/nWMcPBVJ0awEwlXYaE6A9e2uigesOlWPv+HsFhhNWTrapKYcMiM0qNRSy9qfj/D9nD53Vxk3AMAY/nJIj4jKKMEaYoLw/YjaK/wcrbg0n1tS9oCRJP8m2ZmZkN1j7zkSMKUu6GPX6AtTbsTsfsVdU9XAgUwnS58x69WyBGovCey2OmR7UOkxpw/nq87Kkb4MjUzlkGJe+/vQKlns5/v1LqNGBGnyszK11FCAfZhWaMsYbdWwpNSh9ysOp/8opyb5P3qJztYjtyCCPQp+I71kX7nW7pSqckx+kQImHBLlsUfdv63e6XAl2GW8KxTT2waRtIWtRgNbsWyJ72nTgq0RkbrVOGM2scxXfpvOjIWxs4GuC+kEU+CZ5dvo66sjOxO93irOC89IPktrLh2fiQlBD0bobDH3n9GEvSbNeZxf9kRAXhCi+8sEOdaGc4A/kdLGfymC8xmYTuOp3qMl73H1XYBxUsFA+rea+l+qti+NaZzrSpK64ONEqEFnWuC+CblWI7pfYS5vcoz7UJz9oLzJHq4MIGUuPUVYOOqTNKdgi1DKKbJOUroD3UQDYNHe+Nv1TW2f2sRLWUcNgQ9f/yxe1xFzEFx5Snxt5RgbDmGbxtgrfq89ZH2/K0xU6892pwbYuSzy8lnn0QGsRusWZhtqFakrMVUqZNa7vWjFYLTQ5DxP8WFs4eQX8Go0QyINDS2udEM2oLsJzYWcGh84fPK3f9CKittGe9h9I9tlr4byRFbQeymIqXqibIs0e8FNOHqXs8n7PIkz606x/45wnW5Uisrk5Admci1XzIPffuBdIsO88Bxa2Ee1j+ej3YlkgTroIzwDmabJB8gZI5/grRuyu0SWiEqy2W9SITgb99Cr14wb8IcKBF44JVY5g4RJVeTzs/J+FBgLaLZ12UC+8L8hNd0V5/4FXrlfz7OYJRhYCqSeBbW6N/UFsWOtBlnJYSKCDBMg/FZK94nJNhL+AFxAStce9A0B+9paCzWY6fjg6EdixfIJFPSLFg6X1bJCuCn0ejETXJ78O1A83Nm5IIknovPDdE/E9DX528PUtX2edOjacsuaZQPjf3cwOeImjyhlAwoRtS3WGsgsLfHdjGc6lYtyiA8qBVs5IqDSjbQ/Hmjep6E34P+FNT+8d3T1DxjUFPNu02GX1Ofi71opggRq5EyoFjpmoQWww7LmlQBSg9H6Vd1L4GB2RFbfOtqXc6C+stm82wj02HAPZsCsLZ7UdAP0z1H5MiIvStxZnUGEj+SuDKq3iJQvVQjvkzGUghNmO2miK1L0EDjT/4utkZ28HvYI1UKWJopn5LLIVNGuSzR4OgmhE0gWhMV9X8JzZNX2H0bzUvk9Htjz280cQ0F152bBwpSaPcFGsOxqRf7gN3jRUz4n/J98kwwlYFxyopb7IIV0usP7q7FrrBfJktv6oOpcXMWpylvDPYeaHrDWnK6VJBMf7Z0ag7kaky0SNKyMPhR2WQkkqfbzncgE20TUn+Zb8cBB6frmprWKqbsWLg/gq4p8isBc6G/Pb6OcpqkvxAlGlzUM2zQmAuDh/PxSzMcmmTpV4Zs2wAna+YD7YIhJ0A+rFas2L1K0g5aOvr/88xi1Oy5E0eyr6kxDpgbST5GQJkHYH7dmBZKrsdM0Ofo5LSayfxlj7rhKGUKcDwNEs6GK5a3YwJYY9PMdjH6/dCmcht7rW8jyERgqXZKHF5pRurORVipKty6wfE2IqvmG4OtFTSg1rCqyxJFZGX8rty0Y/akblwUSFL7+6tRmG4UWJ2hCNNQaRQp43VksNJan7KRKaxZV00s2qDlNNAn/RHV06K8sV0v8NYBpmUbH+snENLzorvoo3AXovfmMW6AVq+qv93bRP/XziUCJSQPwpxngPI0P3M4p2qxWUWlcR88wek34UCTAN2ZVHxX1IuGCRo7rh1gak0q64zsJ42kbCGPjKE9XQRyP5aYp/oJwGkhFBOzDZ/1X5UzE0CSYkrIJC6lhRc9EXmPYZ0UXJ6ThWdRgS23Gw2WtzLQ1Mzsuh23vSJW7vi8G4FrBrN2Tev+cob4VIVyPfY8iOWVUPpNKQpvi3KiVj5FxErmvQxCYgmUqxlAt2fjwQj2iEnwQ0wtrQF9Lgj+XMTxKJ9Ui9ZwQI9e9h6T4DdRTxft+AACLJnU8gGtZS5ah8zygmUH+EtmLdLCRJg3cuejuORQ6f3ib7SSeCgGyVAicIlEsRWKbwKYeCqZ//RP5d5YZUsq/PlLwS75MjvROSq5jC1ji7IqLSmjo0G5n/o03EO77m1qyYkQh1bFclAijS67Ry9eiVp8FFwkM++5LJVbvfjqxLWERf+4/zkD8Gkx+XE1bBGOBi96ZZ3RQ+LmXTt9LY4TvJNqmvj56edrpScIjAHd2Q1ymLrl5cu6TaRAb4nUymqJs0ne3c8rrm5yHgUYU7gc4AZLGnZwfqrYEeEHuhXb0Q/OjJYihDCFT8fq8AqVLUKS1" title="Mekko Graphics Chart">
            <a:extLst>
              <a:ext uri="{FF2B5EF4-FFF2-40B4-BE49-F238E27FC236}">
                <a16:creationId xmlns:a16="http://schemas.microsoft.com/office/drawing/2014/main" id="{8CCEDFBD-6FC7-47FD-9FE1-7263DFDAF43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598930"/>
            <a:ext cx="8232140" cy="48793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228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630fzXvd8yoSdTdFXRbTwpqdhRHOY5KUZ/Q6CRMsr6NC8LD/q6OptzhXHVVRqFVlndT8TPtOHfd3QnrHyTDKmXRF96iQfoAl1ggpxKsLyi26lUFSsUfsRezJBDlR6QmQPNnyTQi8veNf7gyY75cKM8UXPF0x4SA5Q8yqBHHa9rsH+2KkVW/IGtViFkqpNgqxuRiFPFDWPBHKfa8A3DlF6z9F5uUUXyiFHcuBnmR5rDK1P9nl07MvpmfQFQpNSWMVPU8PS0ZK6Jd3IigyNMA65Ea5rOKVJN8qpu0JZBeF7zmh+JL7kjy0v1fSap77qY8nSMzwOGGnOIdF2H5Vv/u491g/4419iDg9buv3bGHevswPmBF1pz3Ezx7MoopV1cNja0dFyIF8hIhT25GGf0d0ZMBFWe85fX5czHnld9hy8bPXhH/hpbNxM/Im0RXNsLnI7BcrMM0Mjt5kQGQLPGW5/adSNZEVPU19whnynMiS8fGuUb5/YgeLjtDPBFX4I8QxT0n0LMYySrSP+dxzf06WntCypzTXBUrAI6rMjfL40/Eb1WGSsnj6Hm2htASe+6XjQjJv7elY++x9NkDO3fuoZ9Jt9E9glUMydbZNzeOfhfXy5JvCaK7fuOrCVP9nSmMYS66WqjBsR+1k/rKSpZPZRbn2jr/mZanbT7ld8ra2WqRQuNETlhtbQRIY/vTkfhuglXVp21H6UCsAqMEmIDJGrhcZWb0q3uETlAa3sW06aSjGPfIHtFnMtn2kQZHxemIKAzX+HtDoMax3+P60mhllLAAiUl+EoBIpFnOeVlisGMOGEb6QkioXaKn4aLV4PEloWh/St+LbERghsEs38nzC7STryfvtuJQVdi82eOvDpBO5LbJbPdwQjgzkePdFxr/WX1//QDHExbypKROTSQ3q4OQgI1+QIM6Tb8vQETTBTu3oAM5MqCyfNp1ezcE27Alvo8wtjfFRxG5Hv26io0Qs9AbFFzsNOLPNCDw4AcNqLdpSsFUXH5mUv6qps8Em7sRJv7N10pNe33xE3/k64rBHwR1K+XkYUD6QJfQeAQJpy+lGMzZMFqhpUN2RGkHAnTkfAoYGeFYn4Y/Ljuz7OUyOtSV2hMWLL4sUp3tS9dY4QCVlz4tSRxeOC+5tt+QH00QmybGjAaOtHYLTCVKJ6Z3IAaLR9YhyHLRK8pkolnS50HLSvzeELFFkv6m0oscalEQ9MiLD4jNByPwBeabOGAIbhBkCQY8Z7ZpI6+UbElGWfpLGNf5tFg+ksemNrb5qbvF9dyd09K9HIZEd/vOfRqWbzSV70WQWMmOs+QVx+Rfz4NpWqXYl1TeGId2c6nLWEldPhRGEwwWXPQy7ZkLYOADj17bgtl5I2ANtzx1GFM7kDNDei4J0KteVILv6aDIZapWkGu64yfSbvln1AakKs8cn5XFTxmE3xpfJSpsMGX/3GZAzkRwS94P0tz86LS1Tat3hAinqAOKPlN45FZjCxPGHc6hLIb/Jn+Otgc731eeUXBWfNzTy7RW3LUIwm7vhG04VQ5alqMbvonSrhR3HkekR5rZegDBewyaIwf/FNs2kHUT5fKd1fZ4INQAD5MhZHgyD1WbBdl9F3YTGDk+eGsVQ5VpvFh3YGAnsoc996IGBO4dgV+JWcA1Lany5Zo3hpumJwZPfTIORVpN95kc3rT/DZZaTtmhTO4KU2S4EO4OUaasUNjvUGghVLRSsfB9OJfFsE7Axk1yEJ233wQ01/DCDZKD0MM+/TkTUqnnuB94LJa4m25F2NICEs8eBt3pkef3eJKZUTgd0CuIrrqZX0JXGW9mE3hJiJVmiOMhFiKrzvugbs1QdWHts2F7M/J7i5+Ay65x266hj78osFlcwFJPrJy8N4p7xOTfj8zgWL5G/CivCQqdODlE4AMe26/izu8sM81sd6hE9UOe0UtedW0ukkgSbhgJDCUjmQEFaQimo+tzBdf4+DUF2jM2rPvUq+GdcUQNMzfbH9iqCY85aIyM0VvB3ay35Uai8HSKT0aybY/wFsd1QNsusWOjyAKExgUZfPzr20jWSvBV4ZIR3l6Tu0RTzad5AWlTplm7R0N/XotgegrkXASCP5SogP081qC6S/Yk7ARjlXQTDa3rNsTjSeH6ARAn1UMNaDtu0vvruVcvsYLU3RdChIhBnUrQ7VhgbGiirL7i3I7vYi6yS3M9PCHoRDaWF6BoE07bf6aaavsfTg4c5ABHhvJOlFMpL7SNc46IWiTgdfMyiQHEZk92NKqnfFAyp4pOcWfMjkmycgC8Vfzo72ramxynjOMTiU21MiP1byn1AKQmF3v3z1ywVzuYojhD21uj6dXF8dnYAW3t80wJJeew+XTs7la+BiPiTyD8bRt9taT41PLiRczhsSXpl65itxp11zyCDsh/ig+ehKkH69lRid/cVVWWBt+OJ7doxZfMHm/+AkQaYG99NoFmJJ1xN0mjuxKDV7HJRGQA6BIsAiR/IT33HaELNjLluSHO2dzA5w/hL9IUTf75r0oelRqTKLxRmQ37Y/QoYkIDj2SHs0GTteIRRcDG8Yl/aW6N79qG/IwnBgPHC+v5zZQYLzgsdwQ9iS+nUNmVtHeAWXVRl7zvGzjDLQvmj147Msol2rOD1waYvZ8Y9HyLvG8v2kcxBLIzG5yreefoRJn0KB10fKq39NVgiENlHmVMpwdE/rV6HNSsnefyPuTnmf5hKqoPoOPx9HTsIY0BWpNJkx1olhwh53q9qgLU57r500/qhIhiHvQt4gRQ7zK8SYjri2xPcZJhs06cOQDI7XrDT2CJ4voOafg+AApvqN/VmwsVwJUsRdogeYeImmZksmm+o6l+S4k0+GkX+ZVstkEUvnj1m4xT2DbGAlU753XMG3sFeA2w9M6eIjwujcBmo0LA/JOA9Gz98380Tu0JoGQUFt3JU6EbUg3XzjppFM4I+qvGW0cNWnPXounv7VQQpo0ShzZDk/zPxu8l/yZ2XtaLfp2yLCwOUueiPIEuwberxNyedYkvW5U+5qveJzT7SgiP3u0Gq8P2raRnmvLZqanUr00v2D9d+6FV/cPsk10jGdskJxeW0zhL4lQnDU8yjV57mNjiIHt321H/ubgRFFOE0Qfbv7HmlNaJy5qoefLlpiRbuINuavB26YTV2GXKw7Mx9En+Bozh+qU+xEYiyBhQlHkc1oFfvBb3n+iEFddv7z4ZrZDOKXN1iPkGSEDPE+i606jU96UGEJzXHwd1O+KcQ9U+jXj+/mfCba2No8CClfi9sqkhqcFP9ORNd/WT4rfZj3yrZ4nYFsG2FRyllj7kPqPpDJZi+6/5UpkezB7GFJTKFYgGFZCyPZ3ArwgQcIVD/QC3GwJ9m5jqijB7jC2IJAW4AITTC9ygRDfBISvrGZgMFSJ8D6MOtElGoVahFhNkE8DIODbhucf2T+Gnf5gJEjImjsuhKTdHQa8J3ekxYbZUmXEq2fWLeQgg4OEh3GcEXvLvbG5tPq+485LRHp8eMqgtrhBVqSnrKck1k/EN2n6PirSkdc5gKN5O9qGSM/aUt2drV51KbgVMy6L3gRzk5r47sy8Dlj7ut0rx23h70M9k+7YjTHKPC9LxEN0XeksYW89SSEcckNOfTk0vFRZC5c1vDWI3xlhQkBqBEaSHmSha2l/R23kyswRxXojcyG50SwIDnYdsjpWSdEIRAB6N+MoMrRDjLynJjJlt1BCv94kAywRwQQwaQPix2MbiCxmrDiGbr4ESQ6iQ8dgi7Of7pSGJfTcF07l6pVguBsD8PJIc3PWElbimRodGoLW5N2bZEyfVHJgy4bac0dTXJPo55kVGx7doFUBnk2fmKs93op0GW3nr6rU1pGfNct/EIdLnp/CCs7DvNX6AWWOegkH14fxp+Dcl/JbN9f3YiEFLCrnmtXj3VzfeKTOvJdc+HTzxkz2N/Sxa8KYL8mkkRfn1cj+j4QBRa9nVEqkEntFwmGTglJSDzcCCXERS0hOL539r8XmNfINLOAwio6mYZx1ndMisHjCEzZau8IPHL7qiIXfyR1UkoagaMssRO/QOJiCq7DtK5WlzqeMqYIaVwGu7m080/3PCn+7Bifr6GMIg13NZOoCavx+udEIXQJjV8m5TIDbqIZ/3sBlXqRRG1IwOqCjFKnzXKODjjjvS1cvKvCb8+MLPMyJAeKLMXIhs0f9vtZkWmITwsV3n9Sy1QqULWXJpLL80Oj0lPFntWYoaFDdSPgQmzB9KNorgaxwu3FKZDlQpwkAXfv+RNhQBjlm7kRfbRJNasTPonWshIfkv3dbVo785VowAsSsV3PjppRS+o5zdW41JWzBau23cjl0jLRI+6Da5Yr4S/kuiOf6KXy6XHTWDnRqF3DUZfXashh3t+2M6k+70/aW/LRF5jgrFWfXgUL5jDSk5aS/R5bnfTxKSbeq00diS7bnXkdsIVGXB8wCE9oeNpv5e96zRkuLQVRSWL7nqexLsyY+jDpbYYzU4pVTK110fVyiTL8OT2ix72xmvSw2+6UFV5VQvuFk6bOqDYRge8WW88HlKMV8Mhzxe+npovadjSQAsw8MKuS4di94S3JTKBBmnNkEQAb7ptACkk+taNMRo11ZoYZb9iv85e2ttsp2ZsakEOKYU534VHe+FO+4zWgFSxPFruC/6hDV+urX1qwNd1KjD0+sZUAZazszHzcE1eMLVFIAm97xpkMowdMX93jAg4rPpjh9Ff3tcqIk3LgEbxVvxJE0WIEcOS7qPLqXsq5kM7h1eJAO2D4hGkByJ6q3jEZH7SJm6qdYisBIdERlrGMlExfHsPHD8oUyr+0ZI1sBUmNZ8n5EwE6tSfeZ3iQVVURwkCwk6cdI3RQSaqeOK/ms7aP5FQwtG/yofei0LG5+4XG4T9j1PkLE/Rg+k3s3CwSRoOI4n6yCZ88pvcp6r57bVpMKBpnV9HwwfaziCaadXjc034tlm2/11YEUEFGHETmThnebanblDXL61bbA2reCZL/EHiwDQPZICoZB8iAiZo4rRLCmIqg7Dg0jR+ADtAUaD+H/P7J/xynCIJmSr+z5SOQzjQ1cBdsHj4yp9b608nZivkYR5su1KU9h+obCk0vwgph3e6XHmigfrcdIB/fU9DoJU3vzf/hTmyhXXypKVaMeZZrmXELQ/Y52Y3+RAVPkwp9fpzBWPvgowKlidRqI5jZVFTgeuU6khsokV27lOw3V3w/t9pD3wOf608VFg5BfemmEgweYQ34N0t/XPlDXWyXP7tWyjkulx95JdAZ5oowUjBgvkZT0UqE/hAPot8M5H5mPnpY/worM/xpGjxq7dZzuvzzf2VB6xVB6eH+ht9a3tyid+kCQ3oFaKICNGqzymC65e2aGFPC7iV+9ueodEwZ52P5zccKeFvoM6jmOh1pKKHczFjp3QXpP6JaPzUBVvFh+7/PJjiXeRl5vs6ZVqiX53Un182v9eQu49sKXB063NEiDmIZb+1XGXNHUVDv8SmtmHXlO58yYBnE3DQ1geMBx3PhhECB2Jr4Dm0qtequ3PzBXlunBsT+NvaD7r7F19qq5SlrcLNfwfaJuAErVPMB8LLghq+qnMJR2e15KA18cdDn815/RL2c7SU98ew4LvTQtOXJbQsGQLnHBSFNGCfCF2XCH2H007Q6C7zk733QJW/aieuhfPJs6VCwia7BUgvgwNJZ8ZpgwVOIIaFLE7MYWOXcjPnc0OeXVXruZjkyNNO+ZM1nXmVVDepWWqsHdVA9JJPz+C1jtUl31xBoU7HQuNgu1XNZExJeB3qiocNQ8co8UiA0zDb9ESTQHHXSB0pHtfnFqKLDHzlT9GJBv4iQtflDvq9mkk8iEzEXK+AK9mIKEa59/Jmw8DMfTyssYioOGoptG1Yhhly9foc/I8DQtHNPlHLKm9+F5+bBCwnQIefeNt9Sss3EIOWuOehqY6g8RH6YzGi5Ie5MOSefkDt7oYRrLjGxFlX2M0Dafn46lxra1RhxwfZhkFBkv0vhglFhEa/HRvr15BCMU3URukZ4ET7FW0IR0SsrAOyE8DaCodlAxcCMz8LWvGGJHCPhh/El2tCaTQuGf0ci37zxbpmZlnZJn1mK00MHltQE4/HDhkZbFuF4yAL4UYpAnG5lVcahzjgKKXn9G/lC5gJCXIg5iJMbh3IumHbWP0IyvyyZgXZTiUY0Fop78kxyefcUACMJ+pvZD+bHQhWmKm/M2GBKDw7XasEQl0qLtHHqItQpIEkvRZoVVRK5hbrC57lagB6nBGxJw7apccR4YYg4cEYPO9R+U2ttDfmnUoi63WKFjMSfGFz7qTbnR/u88y/h6TPjmRoWkiO4uQh86FhfKqWX6lZazKnaAF7PrVhtJo+vZiwUiOrWJq9gE4xzlUlkIWOSWbHmoPxPd0bVkPrpN3BxU7rV0IStsZ+w2vaeK0mNe1VB+yT7ClqjzjN3h/boelDBsH60G2pkwQ1qQ67+I7xkfjgNIKFPvZf7jRP95sW0+o5PlAziUMgDr0K1tQ1tlbzcQIxNUrRLRQL3YH5qOqz2RuJLnu+DOfS/rrnPLl2S8pYTxo6X5//9OqABxag2+mC9u57ClGycTrkhpSHrjIDALG01LDiAL2TNBEYtfWhJyHMZhTcF3z4hB7PGSIpoBhLdUDryUsuAYNXlFx9TD9o0uaLO7P5B6Y6IScwTRRq47YgYLMuBkvNLKb0ORMfU9+2K/lpn5mDkFRljod0reZUSUYX4HZeN/ghVF55OqVFJ49GGgbqeuQjKn3u69DEx+gnpbzzf3RCtx0CMdapmww3B2bJ7qKfEZNe1hfrZLy6QywBVn3RzbD++ZkeXVYDCNxArdM/EnsMwLE3Cuo1AX6Miu7tAM8Y+dSY+rSjXI+NbfFr66zbDpdCybs9a5Cuvi5gDWkf7iPRtjGbUwZEKIoMiTZJhTcOLSfNOqmtfSNL8mXl006BXVSwos7q6I+5oZ/CBdNnLD5dB2i6UuFh5dTWfQE4zcmy7yWYID0wOVT8WRurVgJIsG5meAmWkHyGibcgwgGCACazGqb7zA40Ipiln9aBTWe1SJrXFEzYARmKC3OBd1IDePnGERMl+bc0iynPAghnn2HuC+xyegDAUF17GxgEjFUpf/PmZiYgncnL/rKFIULUqtsbsD7G3fNHcM6SS7q2DXNV/0I3gJwrkoYgWW/I2KxqeR7V1n0x7g8LmXv5w+XayldF6RoIMQSd10NtIWV4ZZRnCnMtHZNUWH7mKAPhyBQCNNPb1JbVcIMh1prFpWvvMoyXtgxPTl4lJvJQhCNYlSKS/XQx4n9CQqzHHj5uzxWHNzIKAXi1xVqUMFAh+WxhqgjYsnCMwFETccFebF0YSqEYXEIAhyQUW0Tl4D8bevVZ5OLvcSGkYWklDhoDKryczb4MWmYJfm5iOFPeopkOXkvWFildQTDlv96kbfaWC5Iz3ekQe07357hf/ulPwV56mZ7Yww+2yWyl76I2QwXld8rH6xET0hHxBBOJ1Ha2MkedmSnnYz6YULhpBaQF1DFqwR7iw/cDDcB/tEdcsG2cOg6BPlQeVPxAFJA+28Kk5gzfad/0ArMUo2ZSXLcjU64HRIHXVvvSzy5oVoj+NLbXMyNMoCk9nid9iENjBHlrllpxqRJ5khtEee2YGnfUhjy3T//N1/vUVjl+FG5fesFGUa7hyhQ3zulUE1uUFM4IeQ1yHTvmxykgxfqHQ8QtOn8YblO1JyYqzEgo46MDg3bfVmWgXQ2bwnb6YIyC6tIcMj3w9UqD/Pdo3vJGau7dA/OR51pLxKm+gPajlB/SsVeERna6gfmqHN8UH5DI67agloxuM+8lF27c48c8RueiTOsXBGpi4V1qlR80mdIMuVhmdAanYDU5S9BSHKZ9yNmXbx2wfk1BWARSZAuG14ySj3XgnjI3enxjWTK9lF4nRT2dWRGyNeRyhWDPtrJjfwT/SR73jB1PQxXgYuW1twcES6sNmy/UqVGOfXM8G2CkOv2hrwy3u40yGUlEJ1sIqDQKE73a4hv8xl2dgrAQPduqzLDXJ6wu/C6kYgnJyBl3MnSeaURJYaUFOdx79fxbtspkxQUfOLQWvcSX0zWAQLCU3w192RHv3XrUEPAWJWYAuh1nY1fqdtEfBCq3e99Zq1wqNqnVgBBX4B1RyZ+i3e/fN2Xw/nbXLQ7TVn0qlPQSP2a1dlQcZH5TSL5GG+JKn3P4FhhgGlJLMERZ0akHsmsRKUrAVAw96cWWIzHsputoBzobz0iFigh035k4bEe6XuKL2AkQVqCLExli7IELvb9AAR7Lw0BbCueyrNLRFTsTBD0oqnBOWmm1nxT6n24p0j1Z1NpRpmOZaP4UGgVPQ4TOQa6QZCv39LcTtP08TrwPGa2oal0NFbVNNwdL5+u44Ol/uYtWpFzmKU/l8C5dtlZ4nBlN5bR4SXzU/62X3KKMjC+KZltsgzCXkwC2fZ78u0XmxJ2kisCDsjTy+4f8tn5s/wz6yOXMeZlKnAaIrpuPM1KKL124Lp3j6XdR7HTPcS8Wpeiml3uGbY60vb8H/gzwUmU8k0pdi3G4ue+fPZQvqtd24IL1Y4qUIVYyQV5+OzpZ6DiafkPp9tMCFZQc+6kZP0Xh5AAOWqNGbF35Y6zYbEjd58VDbiUa1TCMVpwJiCurbTVKbEANqByIiO8vdL+YeuEPNiNNM4EuxWYSAT9xoojp5Hpyse4mXk5qAuPX30zg/l2qqkEzcwOq3OkKRjuIM4Xhebp6VqLTQBjlOV0/d09DHtzJzo6WvDOOQ2cfInrK4jVpKFUAo1SC3/CVc4XJghg4bGY8vl3yvhUtSASPJDKFtv+9aIj+bJcwK75FMG/K2Gi+O0/qPTD217H/Fa1kByQLj/wsoq+Rz03OJigruvKLCEWD5Fem6BYuISvZMsqonIyMgbRgw40C+ZU/JC+njt8sywRPLRLklXy3tTevpYjTm0UfxoQph3BlpFNyk4QnLChNUCvJo6NasZmNNWDJtDX6bwuM7fvgTGqhzLm/tYm+UspTY2oJsSX3hesl6FYeVucEmwXhcaPdPAlkJ7JI3uYpaBfgfrXqPqKNBFmUHz81KDRtCis7JUmhpx+3hIiQdWIFco+2ikU0F99pUULa9ojblDZ64YR/E5PverarzsOznjx40asTbw1Z5no6G1uSYW441yAKYRygtZuGsCCQUoO/8Qp3uJpP/hGa6GxgD86LCJbi/+jWuiMt9VER06DKuaNVewc4Y5l/KCbNtMvgjEjzm5RvgE6tSZbA0/lG5QpF8WRfQuxO2QGZ9d8C6IRofXbN6M6FZ81OCVRj+TygC4sJ2j3f8UPsSNywW8dCivWmLp0iiwhz33Z77o2OQ9nolHgIM9yTyW8YVNZzaeUkf9Nl+CqmrVVJVX3PJ36CP5x5qpE4IJWNtlDAMbwMGr+m8BvrdCC3Cw/tQpvUV6YQqL1HQmV+OQ/W9cY7PNjZ1tTWQiwjJSwIkQ4FsJfjE0H0C2hGhUX8l4UOI3Fbrr84s0xArJESx5OKB38ZzmwRqG9bMvQ1beyN5kI3IgJDcmPuVA6s0zmTvCuJyciaxDhJSp7TFAMaQyvf7E7QycdfBdNmDPU8TnFhnDQlvOKhsm4rt6OQGsXpgEILXDXbMMxI8ODSXb4u2+83co2S/vhQNgIkXAUhEHtCMkvEeCJv+aI5gmdu1gn92jNGftwGmPApjYwJ7CalmY0mCOQBvc4yojjZXscu1fajeA40VYLECJZWGdyZPy3VzST9U1uEZnqeWGppJXL470ldjVRn9ELi+MYFFFO6MdmSvNz7HFRQeGnftjluVzkCO95hJN+iHKQiDm2Hrmn4LUlah8C+FS22YaIIcdHBg1ILLFni/TBK/qEsYUWI/mNYXXmGtx1DSS6pFknB9cfHULoPZcKGS7DwzxFAWgW6ZZCusjZkfVzSc545LMxoUoMZZ+c84lfO4NsmyZc2zsNrRSVVGKSuVB96wPeGPgmmgK4a/rOZhWmH+WKhlGGa88cmwDWreGM7TpdJI5Hb+e3QLnI3t6cW5F/vlr6WpEzdWk4xzoplNVMZFcHwb0COiMjqRkSRHBd6E6Eo2mjZ6xt/yfE9OyOvKT0w/xFwAYUtNEnyhMHOwy+gULg41f3kHNXGyZrMHGAzNHZZ2J6t+lMVQRAhuhJ4PErx1PJi3xZMJho3Y8XPD6LMs5xYlp8i/1WuQ+dX836k2uWUaDyblznJQH0qx6417EzAZii1y+3TK4RFN6+b2YSzEUjDBgS8gCG/XyNkUQXasKpopD8AMSF0Xe9GqTL9sVMrMYxdORqZ7bMFOiIrYYJ7nVG0IZHDV3QpSc+AdPBMcWDLMjPJsJTUYMdW1ZidLKVBrncdKybE+qDb6sa/Hc3PapAX4RlQrIuoA/vy4pRZqD5+CJKOjX7QvI2jmm3scIG7Rqa1/CXKbqpsABkNu+crhlOsX0acgWcwHgBsur3M6zkR7EAZlYYM77uKCSP+C7eOLfp900F/+PkMPY4APRe4b6on0lpRLBhtsjlaTptKkn7Eyi1iVgpTyqYW6kIM/c9F+B1msOJAokXYXwndTtJ6SDVMK/ZEiseWErPWGRQJcsEE3bdc2E4lXrhoQ7cKkdemW0ujH0L2OqlEq5goSKZV/Y6+GaAJHSqUOyQdHcGFrMQKFJEEfZhgkwoXiN/KMba8vZGZZHMq7uUVXeexbRmS6yZceCk7XajbDFdQxUiN66TRJTQ4OimWRg9ax9I139bjIc5xzUegAzk+trN4FExnw3J/SKe8uwyJyVUb3zroOeam1zYUNPkKEBhpIlfR55vmH+GTVI/3iCkJYxDDtBcUJwVUQj75vGKwEeJryiq+AauFytuU1CzbpasTEJLEH8UocqKnkF5YNuRXCcLjMbhiOl4a2gYNkmt7Y01BiVR5wcxBYYURukhD5nHthcFC2BxHnkej7CNsyCxYn+EGGTo/HICkJf2Z9DxqY5qi9Et/1/F0ySwTyiiyXWDYeZbUj5uaVH/gUTzbISef/5nXp8V/iabi37pIKpa+sSbIzIzXhcgaRXrsIPQEpG8U4H/A4NE5Qkp9OkjNw3CRRRcd2ra8RmqXL3k1BN0z0LOt05LCagk6jYMGxjDv2eRASht2DalMTNIe7nCXuS+HVNHTuwlfVf2ClWH+a8BYztgQ9LDoqZuTH4AodJ7OchKK3XSIHcJM3YDhDoeUoqcQVZshbTTCFRTAnu/Z4do9l0Eo2NkulDLMVpYfr9CFdrrwt97FF/VldmeNejJ3b1H8MqitzcIaQ1WIy3gDP/Q+DiL3ZbwkvwO3lutsynPSZNSRNqzHGUtugnRKxgGeuTWZbrI9POXKdZb3qO342OniieJX/jgXe+JJ8EYA9u5CLDdO2cEQk/LQbipwNiVSOXenviC2FIpCeVBiiO4I5EaaUd5zZAffaQ895p407mYRKfaMYqzp7bwM0TMOxg8gl597Dz4i56pVUIovv1k69EkW22FSDZJBnohN37lOeKHZpmpLLU4L61T4jH9jncTijxgiVEr0PF/2D6Ujojvk6bwCZpgTOFZpanFhVKp2q3cHAfD2L7kaAdX5oFiHhqFjXhuU/unKdQ+EiOIYcWxjlTDRgvfrq/1hXxbS1T+QIE0HXhEI7QehQO9HZuz4J0BTM3IO7lJizJ21yALEmJdYkA4ljqvNwdsXwof+lS+Nd1lGyVtnBBiic85vedRIQRHarySF5bwUXfkjZkLs5QY6AtDas92xDWMsUYHCOFNHthGzXxvoS01A338kz1soRf2IckLp1UEB7wBknaL9cF9NVnlRXKEp2Hu8EICkY7UCJFCO6oRdtd43cjqCyNq8LSM5iP14tuwlrNzPMpM66hPwfOxsNs/MBpCTKZ7KsWIbU+paVtB4+bRt1Wv9koQrLsnAbUduzsnOTrzAri+xskc+3NroCH8Okf2UCpufIHr0mUk1pIYOeg8hD1ZUiH28eiTqLH31ZlmXP1m2bAV20iU1MLCfUzfPkheJgGmdyJEs5Fh+sUMyhI6bFKnaEPk89y1No7Qqhf6ukdQEtCX5u2B4Sh36UPuA7lJcdzQ/xFumfZ+D3wTQCle08gW9KaK13onnB0P6RSmF31Os8i0GtrVpjTTQrc2DMixwtZlAIubJFs1WbsgaFMzdx7YxIJa10EnTjYQJONgkXy8/3Ptyc5MSHTR3wOVs6eVpGcJBweRMpFyF0oUQ2nwR9RZEa5e8Wo/rrppvvNkzB/kFrSMBV4UjMZat3z6QxWuQEc1hKXbqQFNeEcYPJkmPl8NhJobatcE+9U/pyYt+3rV1YWCIvPkFsYuECoceFTW27RbC2g6160MbbksoBJzludOqeuqFwK09ZIBx+sgeLd/Zm/L+zJza+1UiIkMg6IOlYSBk+TAXeTjV79fRV5tA8nng9gpqn5HoWL3oWq4c5AsycJQUUlOUKtblEMvV4Ua0MsLBkimqVv5uB5xgqSQqO4vovg8qLoQBTMudmNxnAL7/E50QVFPRYjBnwO0/A9DuNhYzzfrlygw0cP+RPObH6Cxnm1BpiEZNklYzBpQOV+zwlNMOfoVgETY6lwMj9uRuIsKQ29Z42F5sRRvjfLXqYSy12W7Qwl2puf6xzQv+4lncqZxpYDgipFdrUHV3s2PGgr5KeqpeECx1Ugm+g1wQYJ7ejLYzYqVpOlHbMSL53MlI7E7lzJ8vBv4EfhjpxwDNYUuQyZxg0YVGBwB7Tr3SofS423aDeMom3pmPJetcWtOmv92CM5jK0h60orvcmElXGJ/XGx4RaLlX76YC0YDw/VBAscnlFJ5NJwI2wd5PfQi/DnFWSkI0j75vgsscQ8mn/peYfUVpzrJAK7T/N6UHcIj2Owtcv9Ueo/VVaIyf6vskdrPkbGyce1aKnGszpN1ZKuMwfcyemfsf4WdVmilaZ6+ujkcZlg7lzLlvfvlgfPS9kln+xuEgW4kjeWgtoRroBqrr+XUeu2QF32nHbpJ2aKxhf9iZ2ItydZthBoQXlaPPdz9UgrAQUGDGQZVfiEo2cAEmHPA2sKQgIB0e1ZxWVw3Z7MNdgdWGNKxKHRcDMVCKygBRZkYgmCdg+EBEjBISE8d6kNKqAaTMpatZMPRxUbCH87TE3UB8YZKseGuj1ECIh0wJ6DqQDPkvnfe/ylhFQES9RhaYI3T32tXJwuzXeIePoTKLI7hxHDVqTZl/7auKJdezbiPRhcLPYtxz/B0nLHVan+J7shyWY1uojjK/0ncEtu0DHWrDE9IbPuRDLKW53+DbBVvgSJlVwqk4Dye2IhRIw3KTpxtriNjDqlLWPvDHyrIhqROxypOlLnGqyV6itmhF3luUh/SgUeTo1ini4NaTzDWg6XtHZ/zd0E9EguHIAVCd9S8VclzVYlQQJby00vGNGeqFra2y3QcktoB4ot6Nwg2ujy1GDqa4WOqr7ETX97DumdT3SvYU++rllbom8SqqVzJdFHQDS9qsXQraM1qbcb2OkZuAnvgnvTPc2/l5+DAxRi7apSY83ayygIZopQwaaBSPv8pJOvHW03ERWNLe4t1pi29zKE53R91N+cDRsUaqEDi2qc97hT9dVk0d5jwBZOqsbti7/w7+pVJUm/QXxtFSJ+Jhbs+P3KKG6xtNXcx9FX+8R5NBQ2itFP5OWdFrFWpUKtd8vfbk4RZFEW4U3A22ixofOTlm0PsIXMGsYgx8lz20t9W6ezv+2eckc/0ipcgy4zIKkJmZkSpKBuCa9wtXfThwDZJK25lPzVSCYNaY6mSfuVjJJzN/6VC+yi57rsP+fferDOjYqIM+/hDUiRa4ltAxhXgZ6tLZfJAPJ1YVL6fB+WAki259z42R9l074j1qWaKLKIUghJMDo//NJItBBpoxX257TKOpd3eOvTZxVfBtoRQStYwQHbTV4zlBTy+7PmVHFk8fHibizxhd6oaw3obiU1ClEx3m9YFT3XvWSM2XccgwnagzYTi3XK491Nuy5qJU0JrU6VlUP7/7dx+Kh2RmhUmlJPlI6fprrf0IsmeNK2OudL4qZ+v9tEQ0zVFB1QxA+N/HumMUQ1BWN0yTQziVkkLzN/828Pcmxeqw0KwkmRLhJH/RaOJaE4BZufWk36k9yNjWVV8/zXYDB8/3hQslncZkZZxdqRGT0qgKJwsVXlZP+c1pbePN3Z8ig0/h8QrdOD/zDTXTt5CHkpSaePPn5aJX+5vz9r/+wNPcbkf7aKsDwkyvFTy1WfbuOhrg8LPs9wRK09FW9IJ6uJe8Gtd5gHg76/siLpV/0BOjMSuOusPnTg50iLIJE7Uopy6baMc2Oei7SJtNcuDcxWeqIzvuo5tujLjZGPTn62ILXM0/GRw3EzbIhbNVqwllqZmPcprxQw+u7DktHH5dLB3BunlK0YEXku1dpDXW7M5poPtZvtcTon2Z7dXPlOCu2W+GvhZ30bPdtjt26i8ZA7e4tHn7kUzA63gV0LIDUlTC5svQDLYFrvnAc2ssPq61q2s1DEyYEBGvLuInkUGlJKIodl+rw6TNdyPkbkeBUEY1nJ9SZuBrOrM5uKGyPMvh18aokpng2tFDja7+cUihsjlVUyXJhj9Lp/TImTqelJLuekdY+ugS5uHQcn2LdUTL3SbHwUjFAysJ39sVO0SAqCYTiMgewc7cRa89C6TFktt03T/c7+Y2zN05Ymd4juVAslPnIBsJvsKZelc5cFUxBq25ssMoIeVlYxOsR9K5gjkcp+FmRglt5lvYk5B0zPjl7sqTQkQtmJI3OnW2iCylYK2duHW1F5YmsYwnP4j++nJlAUasDO3R+ODe5b0t0p356VqS77Pqr0UCJOfkgWudr8R2rdbWqVu4EkuYqgSZ/sYWKBRoNHp3h1p6aNGHgLSYowrtS6ufavsMBTfv+Enz99gCb55p5iZ6SXaAJf9ptrO42lf6qVrK8RfqaAog4Aop4jEWTSPAOTPI6mgnaibXSAlocZ8xrS78i1JrpKp5gy5bItm2ObOCmtjki8YebZjvXkMPLBJHP/Qva64aLlimT9VbC4m4U3vUVA8iHqTrvgdNefkOagwCyu3u4mPTZo6wQTuzCWI+BndiGlhXpyAynG5DaJrY98lvMNgsj2xE4blzjxex7xVB/yu32KpEarK2qTUM3eJTixFMFr2soJJCZ5pB8glCkSma1a+birlnjIshDW/iZqy8HdqyzXpe5baPUfwoCOhxw++Rme+o5ruvHOFEHbLYnHuiwMaWkqYHtjIVWd7SVpYgOPusTS3O4WSKTBJdeHarA+UKLlrJR29/aZEB1zSeFLpZ+m+13sSp1dUAYfLAnqBdPxdt0Mvf8NLo6d/d6fmjY/xJPPvQDSmOq+DI7Clv2eWi1TGbXnRgtEYzv/wl+nRXENSbz6PNbqsjsGpmHCQ7E62c7efa00Gi348bIIA9QuE8gp9IdEXwb3GA5laKvHVuIa/6ClqjIX5qUxzB9jrS/bw+uKJMXlHIxz3La9FImklj3eJuhjuB/Hb+by2pVEVHsx4wZFjT8d1iEJKivLLLfOzzzeYwRSygSrbxBf1m/BSZEfDposyjKlccZ6qrmdZQkuM+82djmCnLbysGiq/dWkQ5G4R9nySgdNC1PKgN9m9AeTwzPDXy1vsU3zaQsm2pbozwElyLId50E1Dn8Z5ZIgPotGEzMQuz89vTMElUMuYm3XBiHyKOD6mDvyiJIHi4xKALyb4s1vlHYyMAFnwx0Jry48LXHSOnkQIWXdD0Z6WjGuJcRYDa+0AjTSazBZCrhq7IIwHe+RmoHEuRdM3vy2aaMVex3Ap2jVvMA2l4FVitbZcNlvPi+7WXXR5A2X32wonNakCFWHWLkFy/Ggx4StA3fM4zEFvqiF5Ay/IAU8ZXyMUMALJfBlavCTQyo5Jo92eUFcBTcfWFyPo26O88jvszSS8+MJNhWtMi1fv6qHqtQlYQwzhZ9iR9eHbyaww1WQxe2GcJ86GZT2rn9gbVn0hL+4+kh86kga/iUuRZ6iquZB9QaiFBq12amBEilLYw5hFuWaC+6AD6mq7yd+xBV9ZXb3tz8LP7uuEqbil1e23X3EJ89HS+L311ZwMQOcEsjF/YuKOEFppqMKNw+WdbIzfD9+UNau3L4W9kanF2zzwukowtyN0zgaui/LF2UHP6KndgtCf/SnPTz6SXSU/gvJzYHYv5QHTvGz5o8bE2O2fJg/95HtTR6yzuk3nboikzBGXOGMkPlGklerpfoyn8jWZOmpTErbCS82lXp+a98HQLINHDtE11WTtKr1GK/ffib72BEZdMdj8BnqKfJjaIRwFvbcuCkPMuVvquszGo2U4ahLMaiIadDGIAU6rU4RJOZidF2n22xf/48ECkOsyW+SnnZEm/mkeA2XEYnp3inBHOsMMY6OptEEJLSuKAds39aWTWxmFVkKgO4qg2PtbljQ+VdRqTYmRGCvdgMYY2J0OEXaBLf+XMiPGvnzTZTsZ2Tq0owQMDXuTIhH7pDWA9Hlj0si2jniPs1KOXpoKezKuhplvA36vbb73ZFSDoEZ9tXIi0gRZzCWJqLD2T+Ia8FM8toujhBP7OeXZOHwm+wHVLlTTG64+D5LXwFsDMaDAgzeOmKyuSV5dl539n+iGRIy9ZTEBHmoN83n1zrT9bwK6XjuYuztpRVCRjXd1hwL301YSmFHju1tMiVUWTvnkv2eBpBl8yyVgdTHB29iZHBXj29iDBR5rCaN6FH3m8AS7FZQ7P30Pj0Ty/xrKWW7zRcI6BaREtI9Kl6ya2f9VFDrwIBXaxRhZKOgLsitpb5ZsOXFQct9JWTteJsRQcLCyeOmdDtbNVS560TDa3II5uKq60RDP3iIwIzI7DjmdWqBczMXB+u3Yt5b4NW3Oii25A59H6eMnyK/kE9jihRKAYsryUDT5lCphvUZo/sfWLbWzsLnIWzGYDhplUgtqJVAZxA9/lxZU+iEgfSjDlhVexetevo2ceM2ZQOjdTqFBZptaRyk+AEHMj4bVkK7hVZa7A1/qRsq8iqiB3hlrxFzaEAFiRUL8AH/ps0DnQdDVDjmauHDlOWBPaFlen9pc/uH9xY8zR2u6YSnMyik9enVvsjrsU3IBYiCEjMU1YBzyAHOEupbloSgDKOXirr/Hn3OKpu9F35dmt8A0BxQMb0IWqY1xWe/3zQgxn6JfixdSHIvvcSSJEtYhbIYdMo4usxrIwuya2rp4chc9hHhoMwa2pjB1fQ2LVo331tNRYCxAWwOfrW2HN0LOTyd1iy1pk7s8HOFb2np9E3/r4Z0S7M9EkJ7E2P7uMC/1blNKN92amoqpymYXPCHOAF9PB2jiZz2COywlqLS74ftG7ccYdFGkLc6cKM3KZ94uK4DD7ViAz3/N1RMJv6ohM8fqokFfcuPbQYlTLI6otR/TW2zkWXpY1L845qHam+cB5faH+tzzyBfmmWb/4Hw0ZCFgBAuO6+ewhoTYa8X0twXT0+0wnUiPemPdKBOnBUfAzSdPIZaHI3nbYp8FFj9iuay3cLkLeAOUjXxM4onVMnPaF1rJ1lKUgADXCt7FJdMwMZuGiCFvEgs2tSdYNnjtx5vVVsa9Uold+r7MqNZhSN1HvUVryZ3xrNA+huxc3oXfVkSf8CXdnvZTXkqTtn8z0uLiXYQtdku6OzkNeWS33dDkCujjLjhHOHRe+qMiqXYhYPg+dhHbtodkQp2G772tJHL9hoBFc3cgoYEoIxK406inqF13F8Ovxgu8Acdw+LrNmf6MFIIXEz27QQ3q8txz5RZY382wXH1tkKW8olSus2OhdwyZrui1yXDNloQkmycEvlfib92QaHL+DKWKNXXnMHuyiZ2aixD2ccEfUJyHvzvGXhbBxIM+l7q/Xl7EGBL1l0JQmJUHNhznGmn6Vr3kYgux+zadMMYUz0R+Gmru0JNGsVXbgZdQq5Qu+GX9fBnJHxuo8cfzs7uNgHW8gy+9r4xVnsEBJ7Kn1ta1+oeGVqbtdkfnSsKlxjBG9Udz5HE1uCJCuemrMCnyawMfMlFxzB6K2q48vaZX/RjDcAoqp0BnuVz1UNlg4AGcUL9R5OkpmQmfVUYb9vQNT6c4Q3yOC3yfIvBPPJLRNXZDMbgP49dH75ytqIrEF1BUbOvTYLjqg2YnptQ62a44nHOdFVsiQh2AYsXN+GKlRq6aLBe8FzKkR4Ilb6Gqq9JNmqUH4/IP00xnCU6vWBfV4tuUTm237Oh+ykA/qw97qUeawWfv+jdHbeCRmS9KyGW50UwcMFAdVfOFKyibGXnMk3PbWU3m92ZqcTeJoDMSRs4hhRRcptlEto8bXv6BmYT6xD1ezOOJSL1kPQGV5Vzig+ADymPqDFgEOXpMY2Iyog+tHODaZqJhsPk1qugxsbZPrYT/fsnifbvtu0RTMG3hT1Blce0HVUGaWfArYmaJ7MSnzEPnvRbUvcVno6jfSnB9sO1/4rHRqZsdopC7gmIic9LrpfO0mplxwva07Pu0RvdAeqiey2ynp7LxK7r6wa5WDShX07cvD/jFYE8fsLNLKcIERTVetKSqDtwOeM1DZDeLZeuQ1RkU+acOgBU5NLH2Vxl9vUXs5uiIbdrXeK5asXk0mN7W3D0y89iL9sKswCDN+3pXojT4GnQ8o6kyNVDPEm+d47apzxh80fSJoXaVw+j2kdwhlcWyVOs16wx9GN5dis41q7IrXoOXdf6IwghSCVn5YdLFTXz5TecMbykjt6EXr5P8YbmdYWM198r0E/+LrwdEua+fyfSLY0He+VvQXFIP0u2A9cBV9nmSdLpI7l9gZJur3/KlXlt9mm/slEkfznN7ddvdvN17TmFzCzEECvQoQxvwuCWFbzihQ3XofNguiUgrcQy/pqkx4ndHJq7Vm8Sv1SqgXyrCUeNDWk7NGqSIm41FgyeBkR3qLK2+e746Z+pFoo3IBWN3NVZyP10caVxIJfeXqtB4/njdPSvqw6TMVNqCD27F6kc2fH5Vr6cOP9xqkxMBrSYjJ2O6cg6kcBRyNZq2FnBxQihQz8D8ytjq0vrV0ISvk5D9g5zS6FV0UsYyYm4iKLDAPFY4rHwwDB74R6nF7yIT7GuwokMMZArE3klmsO0lVB26XVyxHesi7uSaq440fvGlxnoNsYTL1QzF/MhunllxQX1XJjSkN4EAeoCKpc0P1aYFbYZggO4sakeG2JHg+JHFTmHFE2ZXmQr6I/MIOV9dRG6iNCZgASVPoU2c8mKLgVpGVILS1pX4XJAqVBDPcXcBQtWeYVCfr++rmLHlmCZHdiy2aBGo30TEuxoUUKv+rz2AOaFAPY0Gkx/RutzuVCIj3JbBHjIsDwSgu4+w55Mf6GNgc6AjHwtSFFxPHkqzrXJC1kF/wAAJ9MsHRJn/YtPPx7ocQ6svBHjlSbcvhHUOSZmfO6nNV/gnKu/q91nBqXb63rWx6fBWtJWNBCR+lqe+3016d/B4rEa4zVHCNiPjTRuqRLq0zbkiAHAiIYrUPfkbnuqZF6EzprOnaOlG+o/7YDnCW0xs4GMwU8s7Gl+2cqI0vh3/NeNxiwpjNjAwcrixm7k+Uj9UfrpALiqGMsJ3DW0hmv44Ttjosk5DsdyTd95ih8SLgubnZAO0nlhhxIvSoWVD+B6Ovh57FeWHTHQNqoCOewy4a1LqZOz5/dtpmo2kXY3gxaXhIj92TTNjxVVz5Kf59j5a9PKUgL4BiwNZgx32CAYrTq3agacA/e7nudbDKkEPZ4hucdc2mVUq9QQrAc/pRVgX4dusN0u5tx7dUAaju9M/r9VG+5XwJyVGPpyMPeqzyYiQtJHYu8lQ1vKW2OWKJ5QMrhU9+aitUYsp52+7pfGDH6kwrgRgLMu4WRJsKcxEbY4Bh+CPD5iKIcEkLAi0hSchAVgFNXTDCLJdU+7TsFCro5JdKPqPlBzzCfbLEb01uu9dC082p1BvlCLZuJJy9ts/gUD7j9JreG5dnKVwJySVEgglnltLi6t/xoR6jHEYbdBuK+qdFlxU/vq31RbO0wa8sRS9zgnHsZxrc4KcrxlG8DrQMlcPNVb/DPtRMe+g63pdFflC7FMxLLpkcm/TJy9l+9bFnfodGZ3RT2WOXVCdcICxgt7Hsr+JG4B626VW38meey+I9FeUtWv+R6sj/1kAmfziMlf6eIB4OgNWHVXFi2YqRZVSFxxVB5WbSH6STf07RCchTMpC9FQH7ZU20FEygmmyMTArti+TWyfJMHH9w8kHuSSZCiprPkXWDXX4kGH9epk4Amag8gfaMBJoiXjIXLf7N+6B8slliIxRSg3wasQdq4jEIbfqJ/KDwrabHXSDLGUtXpX+tiJewiakY2BDIhZyF1DbYAAYi0D3Q450vIch65FJYCi7nE1JBH/HZpgzHpT4Gwv/kotIo8J68IPP3abSJxW/fE4pV3IzjggerSLQbyqFs9dqfKTmNHhv0hrqSoicpXNwCXzAIGKU3SdoHO4vpYUM5qk6b2ScIO18h47cGGRFImsXk8Jm2UjAFXW34nXAG32wvrD3+POdW1eToL0onLrffOgB6yXm0YNLdWo9bMTz45s+UBQDFUmj5IkGRYUY97BgieU35AhGUAsMnfJtfJ2AMaFmTp88rQWB+sEpu3bzrVBFTGG51VW6IFs3yMpZcDAbTDkIabOH/cJ157UkamT2WGoFtukLY39ufNC/aO8ckoOND/jtCgdk8uE1IddNtAgX2lARd3MyfPpDlR7Cp/snvDjBYKJApsrrneyW15ZU9Z0aIVCe7J5hax5Rr1543S7s9I+OJE5G/F2W7U8mImrNXzOAfrf5vnVFn4NTNQd7Bzecu1pi21HHSjMymeNQZ77sOHOxyXzqA+DWp0pagH2lfs9Af60E7uiJQW/FWKdCxWz2lyChxesEH5VIX/ldKR+exXY43ur6cs4dJ+9nvdiKW8zPl2UIP8EQ6/zbFnDp2V3UevI4fKJwgzqo/+ay2UxB+7cQaIX7Vbg8fA9rBpSXMRSI1EPfVZrXv7jW5D2MU9by8LvyZftXDHGhDtrhHmyPo1z3YcbG2Q11r7K1YD61Bn+AeJn61sb80csTNnEyXxFLj2U3A3EOwwwEW7i4N7HFVdVPspX8FqVhyUgVkAEULpNPpLl3lOoxoqIVFowoYdz5yVD5HxZUHoHTDy4yHvaTrFMlCtzNV/E00U6BN4kz6S8gTbt/56jFXGKl4M/livtCY4u+MvST2E0ERCPRoGWasANRA8q0cIXELY24/5oCjme6IsKNc0vGHbr0aMN9KuCZ311bix0ta2Au1Zu58xA+9V75RPD4++ZbwDpy9hgSO7KGnvvoaDeNBXljJVYcU5d76FHgc3SlAd8KRrvlinTUd0/mwd2gF4Y9PG0TMtKUeIRx6+NBwiiGLubAWRLjFYN/YUQwGSNkJSh21ovs3/1SIk9F3cPZcdq6PU4HhC1K9kEocBtuVQ8lvJTghldKsBTpv2p+ct7IqQ5onrViW98MnV9n9PE46NDgMbUDQy6LWlItnfAflwzY4fgNBid6pwZmaXoNP/HmXIzQKHOc4GR0LtTS4yyZx9vdk04ezsdwLe4CWyWinnMpxnJuJygf6g3lmkntwtLJtxadCgMS/JMvybAwHcAKaf5vqiAj071ozxpt/SWKURAKPRdbcYXFJQreLB5KIz/uHcizGrlRx6WiYA+HhYLGN4nU+KLDx+YAy88pBBC85/appaJeXJY3LhZ5Thjzs1zazUUOr+JS7KM98L5hDoKqmJmbksqna4vBGqCc1wbXvONd71HkmBANvhFb9jio4IGtnrvUI9nwv4v+SZrdRnduQbhMODlJoVhIqD7XRY37UXO4hBRgnaBISMbTWXpxrO1i259nIMk4jJnbBP2mTNKfS9pZ+0zveUga2of9iFu+p/Nn9EsS4sjWFRXQsLOgxgohPcxcj61uyN3j6I1egNpyYOXkZyEzwMEIjUwkzgzgg7QsQ7d99iKo6+bOwT66JQ2NRQ4vey9WkIHN+9PlJRpqUc5OWKptne7iL3k6tfB9vxxPI3B4edFftWW0qki1rEwLLjedD0+ZjXMSWvcZkCYDqewSL4I9N0ypJXoTvnD0ioiBH+uiDFxnbEPUQMLmzvTYIJcgRZzaTgCG/16twk5eygCl39fgQRZh4bziEwQ2eARmWg4dck+GgZYWKo/ZftapJccLFLgYHpIm5DHqBg3eOae3CWvdRturjWJZPvhz3cQyk6QnWxrfIt3qbB46XGjAAJ1RVclrzyttD7sNSHO5kzsozE7q+iaQuWU3xRbiBPLQmDevpR4kqICHsUJOHWWPhWE/Q2NVnBL7QRMDBi6P9s/y9PG0oi8x2a783gHDyJsWB6nDs8nbVsDKcH6o63a1S2MWSvU33gvBBmKuEJM6SJokU3JmfnbxgikuOgXm+Sys5M6K7mgPG0jRXpQVJx5LQNYm8srZNEo0vspNUSkE4rxMH5jjKLn/KeTT9WY4x58YwGfyEr0VYlDRTbXcj83tIJ3Izzp7WcPu9hMgzp1/bcwHCkwXEsCWjcSPJ2uMNmlyh0Do2pNIdtf5D2mzynd16CBYQ5g2y+5Wc6QALZMIO7fEuzDnDSv5w2vvQ8lxLG+ljUk8bCkUKguPfRVkcpnFYgW/lI5gTqAV72pA4bxDHJodP4szeNZoRIwHVVwphTOt5R2aJ/CH4gcDhPm25eOJV3PKRuO7Exu6HoUCj79K0hVWTwam9InMGH86gdLA/1NsgDz4MlW4bLsk58eGwJezIH0KQOjj9i43xWB4zMmPJSIXtQwu4MFhuK+fkZqZyM7MrKeTPav0IE0iu1GlW21RvZMjLKpAXpXvAsGSMKg677stFZfM0tw0jqhycMNiWaokVzVpjnfKRmW+HVn40SXiCp2FgeajYXoBnDYpfgm+6QE4TZL6eW7VvquaT0U1U0ZpYHvnkRX/4DlUwpsRIL/lJCnPJsri0dK5HAyAwDRUqV4MJa/R5qotiVtqip6oMpKwed6xpYHudRAFvnZQYlv6kegE76KYN7Pgij2sEDj7G9LmQVvh63YoBxGLTr7u6p6AW0SpwORvuY9mE9Oh4QQo7kxIgBs+O5FFOvMIdRFKGyi9h8+pfLrOoQT5JtQp8skCIYV1e5BBVtsbCKor14W5E18fiYPJIdWe2dhu7JZp+pCYR10/jlbzAPP9rmFP0Tw8CAc6fMoibsOFgoWxQ4fdcU9muqq0gEDTq7gfKJrVWIe6B/RMRg2pYMSTqnXVMdEZVP/m+dC4nnDyPlzjmCAvJHKx4i6bePVO+7kF1hMSB1jFdr/ae4T16XOKR3IHa2IyUOh1Dx/uvb+QhTQG8HMub1PL3vju8f5bxluAyKItCUwg0kUMxcJwgiXi1//PQHtCebQODYUZBbNJ/aMJOL2iYwSM3jBxcv710QQnaSeDID6ZZYVbSw/Vn7B4+uxWeCdnnwhx1C0CXCzJOKhy/hhBX6C9WDHOuHWbweS3A16u0t34CJgP0eZXQWmdVTv73e66BW6QJPQeyz6cl+1ph5VV0HIsdD72cihll8VuYEwT+eFx4Zz8FY00um7+afzqMllHC1n1ZZTJrHVNplsd+Kg9waSx5786q5vZCmK1bnEJcHudwtlegMbuSkp+JZR3uBpxaXRCIuCuRCoxmtePDQCBDMn5rLE8HvkMEt6kiAkIqxMnzpAiwWoOV5d7eA1dd/448n/ayBNm9VR5XVZVWa1eg+Jntx6/YEsO2SyZu91dBbxa893pvcEFI1M6qEvtqJH80f7aO78uFRkOXAj0VXrZ2S+fR3Q5t0hGNhuz6UkUyvrlVCQtfRqrWSdxUVTxpl2CtXAo6b5Ho95CrQIboBOLS6JpxVI2qSY5TynMLrXmRr++N85ZGux3a8WcKwCUEIc4kGItmGtSvR8PxTlEZ67FRMiWwAf+svLYU281PIDAImvHWoCiLX6hdGnNTGuQyQKJ7jyuzlQKQ1wlOmXqbHBRVuKnOGAjhhckl5mMd4W/bcLBw0LKZzl5b6PEbYuWRfrlf9BsclCW6OWrKkOtJYcIJr1y9Fu2uySqCU37xzRkL2Gp0rXKu5PoSDaBP9kMZJHRLA3H0wNAipGrIUnTIVM5UpHIq4NWSt1b5K7gqdhikIQj/mn4nkbg6VZ9P+QOkSB/tFRT4+yh8ndrPC+M91NxDelWCMEqlk9MuZG0WMI84sMEGYOu2juxTv+2wDu2E+sANSmgzoG0TQ2oxO6bCsKqNatAnWjiT6IkNrgR8wLu0dzoau39tdkf3sA/Y8RHcQgF0G6ekGmqBhbByHC4D3qMQmFe5LpYhuUoktn4gXnTzjpqklyY6pF2r81ps1YtMmRI00JUjcbu/MKauqt0DOsuA9yek6NR216tNkO6hJhXdgSS+NfzOgyxdkF9a188glNHLecaR3OJuN01Evxcmt9ZcBT0TzW5QWt8YrKSzrSEfC5dKzuaHyu5P9BtX6fAlORnOEtaaDehowRfvVVdSswDJvMJQKyn5mQ7ctf+kPR/dM4D6os/5kcQny/xT/+cHQP68jrS9Jnnz2dSPTmeDzW4mUfLf9hNOiBkNyA0bV6B6r4p+HX11uZAWb54PXsnm1EFMcFr8QuCNs0prqjVzv5cea/2hJh9LUAsCbpQ4mNkIaNIZDUprHD1VGva89rcMB6tI3cwUeQ/wjQRO0NBqTXFirWcOAPhQHf0w6NR3rixrmR83NoAGyLgedUY5Ft+HvnlmIpglhsp7tghsruAO9w6u8PcK0EtX9C/79b4Q0bi+8woTzTWfyjz+U4NUy0fbTR7XIZkykN3TD8tJARoeGi/535nL7GYKj8IIqqtxUvVvEcppoHeSB6EaX7WdRRZ/06ayFyNoUoTttSG3LEKOozK350bO1TYerst+u9e797kGx7pMx7drTwOGYiBv8pTlkvLRCMcwkhYa2pFk8kNxz/1kMvYTTXA1NdBtJuGoeT3zPYwSTKNRv7yTNt01tgarFAdY1mvFa1JOtpfURBilxbhtyV4XO2y61dCu5jR3HrI325Ezy6eHcSjCBOpnLhNohqcYP+XPopXyQ23fS9dGQMD3dlKZ6cFlqVMiLmtNtHxKQNVtcOQknxeGHDE7RpnCvwEOSFa4cKe7u6DYlblgXniob0Eaj+6EMCNau++GaMNkYY9xsy3LUx0W0JN7+MqTYmF4UJAxWym6gVkDlQkrRkwEOytsgcfnEh6IsTW+Ku2eS8N0P/v9zSQfOfKRKbBOMUTXw/PnG1D6eOFP06Sk/GI8NVOtCYooaolqPjesw+zvIlBtmbDSpx4oWUA5KbZifgY0XbVw2bjFWJEeWYPXx55NH+Cz+C3hyZQbPiWFDI27xK+AemnEqawHB+ETr/Y2Br/j3oPtjT4qkeOh6u3iJQmqOFXYgKVNtuhHd1D6R4h7D/ZOg0bKzG6zDLIhXVXC5psRS7Egmk8EWk9fcuPKqsHqI7EfM+QnjAHNVCJeEKPHAuWQ8sTM+gSMy5TK2VQPwdS2LowzJb9/2/c+GHCXO9o6Xb3C5adraxWoscHfRerEjegmUJ2z4YpVGXeM2JbrtZxHO0b7tcj3mvZ01OevCmFLxnHzk2Nj6thrti15yd1DCsmtm71xyazvEE2cf4u9Rj0dziGmJczWspKdiO7RSzSAEBceISe13544HwDXx8aESNam0R4EM0OqIvhzuD9O72dNpAcNxhx2Sao9olybvKhNf/cFzrQYDbRarqUmIPk9w61HBQngnyRlUryqa+5CiLiytKUw/x8N0AF+RdAMxnpwLl8oZwyJ1wHVh8pfIn+1POc+ivWeh+RT8NGZdoHUSksccdwPeLnw+oQjzFbfqYCCZhIwtKfvA/HGV35PSSd9LIgEZ2gLkZMmlTVm0+Doitk+F7TqGgpFHngG/6cbSZsbBT+mO4UTFtUtMiI6Knfz08Btj7NjXV8dCUiL5ZgSITTRKTpQ9Hu9Cg20vMUtO4/vxuHrDMcrZbzHnivM1DZk4huonF19dSWWxU1Cl9A3VI+wGhM0yWAd6Xpj11c29Nh0GbP0Rh2aDuLEC9XD8XrYin6fIEp4IeJroOYRA/a86vYU8KFLXYDgmFUuKPGbiMyXtKSuZ3+gdVj1u0EBNwTi8ykHNSvyXlVdhaMiFZif5YmrjeWEQoshNIHgnen1rS7LUtEdyqfkJ7BF2LctIuNsNKgLsh2zexTxtXzX2qHCePQ9W+Qmu+XHyKQmE2s8BTYJqqWHoSVEkxyQP+7k/C9Ir4luXYD/7cSNBOG5yC4B+iF26izuYp0Y0U/Q7WrR+ykkUnQWsa8rSRKLp5fQhQFaxQ5pPj2x/IrMDNC6ySRDGJCgNfD+zZilEBGJzAMsCDAK6K1/N0bE9Pwkb8E08i5eoLB9cZ5Y7n2k/LOxPvMPjek0+0YsYHkuJjdPeEiP+kT+kfwxNFW5jE41nTnfI9hB1L2lxclaT8WqWbiLkjRR2rPZ7Mhvr63EMnEq2NAlpnV6wcbb7fOBq2kqwWgF4pA5Cv4szmFnCCPr5BP9nM3xbbzXvXyLJxpgcCfG976z2CH1aE2eTFFuk7noVg4i3X7PExx0XfSLDSzyB9U27jgxp0wwa6CxEgKBL13ypOhCR3gmYQ+gOooMNDu370UejOaFtf2f5+5Nfl3/hP+Y6hSwV31fxWqDdIjFkNC9uToYrNw3knDhW2rY75+5eDEF/eU7WvOqi3IdiPhprZU5sPiYEZ6Iuuq+eiW2CDrAJFPxmotsNw+IFQz5qR84SOsnzSjLIMqC7VfOLwNnGSCtrMUigf2ahxzpeSyFUEtmbko0St7G5vQzlioxisXd9GkmVJH6GghwT1wIKGog+jXbPS2Br8DoKDtw3h8eid0PA0SvPug1PMZ+wT1vl4kOqdcQc5jSCGgJP9F3AL3FrHq6LqwCgC7qPVrxIYbDOXy03UNoTtExZjDvDW9a4+VBoO8GEO7TLWAPHPKksbJl5ucqMz/3R1s63Go/m1OgqyqxjwOCRiRMfWnn0qfcFYtjdJHFMY6I7MCfpdV90559HKdmKsxg5Dm+/iOaovZV/Mds0X4KM4nkNz6ftrH4fo2dALT1Vosa78/xMjlQ2CxSKJVyU9zjf+5uq8D9Hoa6jJim2RqnPJSnVSqf6ZvW0WnvpXyvgeQgnLg+/D2MOUAQUVdddS7BKCp4UHo/6HBTUn6quoaL2ukdspkjyEFHqT4eJ8NWXbZjsHEy5D0mcIF7kC5BkghtdYSjw0tfDJQ6/8BjvcZHanS+Z40pUBXj+I7WzyoAv32u00E/8djxpkCMBaFjgszXWaGG7xZs7+IRJr38AN/ubWbsMmKI6iwNe0m2iwH+zFCrChkVHGI2TZt0OOdJC/R0ma2kQ66MhaiUlyYSuB0qjeUd6N7giWtFSK5ZBvwBkjOob7D7H0HGToWCNoSAyWuo0b80vdRFWnTgqWRwjX4zl35YO3bC/bXi8zKgalHVjGjvZ50L0ZVVWb3vNeqHzaCKq9hFKhjlcabnKzKMIfYdzpG+zlOCEyl9VxXyfVDyOQ+8KRunIwhnhSunEIcTXJ6/eEUTx5Yvi3jD2e7JcM7DV+Uzf6m2+vn6SXF4qBXXktBrIzGWFHTgLulDS2mb3Ho6Kj9ZwZexFCqNVn+4jre5byOwe7ZrPboigjznt3lTPFolf5ujncJRiqHJ1bfCWC7q4cAci8LJggE3n9K/RU+Ls8JAhJ0GzusnsbNDls0d1vz30T1FuCtJEZScyq1FgbbsKT+e+mvtd8AA7zow4bRlTBsyQEOZSEaUfK9ihwzGAgPaOKezcHyZyVEm96drAivsxRtZ2eZ0CQePSMjK7P9GQHsCiA3Vnk2jySv8F8SaE6lmpM0jc+mzg+Liyw+woBWT1k48rparNHMgR3WWn1+rdFEYUecHsxujf39ZiwNmYhcskjI9rGpjyABaBtt5K6ucCf9XfpfeIlCAdimg1YFhEeaydv7I8pfqRcBS9lj7ymo02hEcCgY+W54iU5LuEaH8Cjbc7nXfUG8iSm7b5PBYmrCuSl8f//2NtctfeyO002a4hIv7Qk3bfJpjezmuQeOTYRo172dlES50LoNX98aH81SHvGZxaSmjxHq6lMbV6H5D80BbOPB6vOvygwxRTLqpqQ6k+fjrXoHJLlfEOGIc97K4FJJGMVD6hI6KaLDOvbcNRglRgCZyNAfbYi1V8sXypl4sGs1Va0Wwl5NnpBOFWVlzxSHH/rzKpKu39gXwGQz8dQMwW8+D4Ds6wYqskRXJ8VsXljsYW9HNXhn2XgdmpSbhEpu2aaVrx8DQMNQktdf0F5TbqWBt2uzNE4Dk2bdu1VvntNRSUxcDH1JCEnGl5rSKSrZ2JXnmjrZVJnIyEW7wy99cwrjRZVvwLg9V4sqsDGabBSuDq7JQHUvlK1AU+DqPpu+vg0sOwMglz1ICyJnm+U43DLm+Wrew7GLANeYXMmSUyOYzaIwchKbaNuQfy+k2onE7hJub4ogjMT6f9fkEVI8L43wO2VmqFeOeDbT9lZdcykVioW4etSzGf9/dCQHdyX3RnXfrrF4KuXs1qlM+a1rHIZl2y2FlBZ7RrwrNcB41MOYOfm4FOqyPB/cL7sRRTBHOn6z0sHbFYjjnLpanedyasKv5zN799Gq+nHlwpzAmETwgBafoEDZAgOTpIwlPFxmmUDqGdsvkXnvRh72uxjMtt5ejNUxg77+ECZWkjlKEiTy6nFHsiob1ZtJToNqyfZn4IV7JCEpnjb1pxu4Q7bokbXBq49PmTi9Ya87KHsi78bOV5UMk2XKQThCcg+Zgj1cXUN73CrrMC+XOgtf/W+rkVm58kyXQBk+QA5Ks8AeZcrGw1osmJiXvxTq2xufmtluFH+OtEq6ieeVa7fM0t48gsDgaqiDQbBW6BnPCksWX8N7+uhi20b0se32CBdoD/FvRsKKTDlTYzP9wTi6CWn0CNq7Hu3PgwEGR6IwJrQwcCkxzJx6XCdhaXyuTzPpILvIp05mk09W46eIsrquqylrILMLrN/cyLr1ph6hmnE93Y3Df+J8wvWyXqzKdMVXiAK9jLdqL2kshym/tx+c0bxvA+/OXjVJYK8JZUw0DvKdyMZUllAEhuycZFJXbnv2jnt+M3ZabUYjbMsXtWdNlOrb7sNNN7GEHqX9KiYpTa6EMhLciFyjiDZi4ocwne6ST5OmUE5B5pUBq1PJLK3aky9EfaYtQaVDxgHbGo7spxHdK0YqMBwdNTPfuWYQJNMVYMz8CTple/+jC/wrAAKW1s1m+GLntGn+Q3xmZb0OR20uc+N/zGhO8LVbST1Elgo69JrO1gRSOYM2t+erydq/wVd/vvVTrNYWL3thEeAAiNrOmZJv48tpzsedivj44JrBLIKDQjGBKJUvymGDMZxQ0hESQ1aDcw5G95SkprZZd/RK5dH5gYFy7xRtVWqe0yS2f1FXooFPtzyTFqksiP28KrR3zzVhtKUIGMrh+un0zVA+9wyqiH4rget5l/N4pHJWFZdR9sxm6qdRM5b76B3l3/PhV4O/WBp1iTfu7QPQngtmwe4stDIlqQYcjgHLRiTX+20huYKDgYSVnRHPjIfKq03E7apNFXUztGFv+UDa8DBWkfiReAiHrc5JHXuaWv6cVF9xRLEU40SQgWeSbyauTl+/DPULkvJVQJwFzcSPo9XYbF5ouSD5wxfGprMYihJxaL2p8+usTDPaV8uRTUKy8weN2t4YsHIKtpxnyoL9oPKqpz1sJryE1Xx6q674AhZfkTGIp0ujwA9LcJ0WtnKwagpBIMX664FTDZhQsvUAywMULdPTL5PwH7TpFQdCFInGpzjVlUwfKkYXrjikd16aeXTcMUTH+1PcH1fQgpHRzw9B0Cz9hx8IDVlw+6UZanVVIpdfqrKa0DrUz281CEKuySCDZFJSTigHLpgmxJ02bogdC3/ZIII6VoIb3qR0nbVHQJrBv22RDz0a/wwUgg8eQV917wZWnOpvkOI0NlJwAqJk/uqhGuaqK+tSiCkQCACt+of330RM45OtaV4G+BQyGzmJY80nX7FiSJCBDBWE9swxyqyzICHYNCPwN4i88sF4LwiwuHnbR3lr2niMIVXObVBkTH2b+fV+6Mu7Gxtj8k5DN6qwqmxhIvKt/UIdZVQhvAhF68Y3lyBH1al3S2QTrDB4O+EtpthIhN3ZPztmwTm441PHoF9EF/i44UrUp45u+f0J3t582dEyH7sYSEgrqui8+wJ3mn1+dPLhDSk6KsHB8xpvH1lsZQ02ocDz0ZXtNgs3UMqyQNb6jt+I70vXiwiEAP3ZhIuKoZpM1KZlnq9JNZC7XSNM9CSGweXh9hkX/ePxOYJBBjKCO1+YiSA5VMWPzahdqJnZmPRAWxO/lFSieQRyCklTo+10GnwE96o/SB4CdXpWep93Q3qEqdgO5kpR6zIQYvHWBgNWU9qRltxr6c5IYXuGBhErTJZXrBrXeJTZIWaj4Pq6y7dKeFXVxj8mPTgPibQKu1+NS9r1eePQI7BVK4GOlMAMaW1myGqb72Bp4jpbhaHbAL0eW3TkYApkSSJCM1DIncmSrwExVuDuQpWbX2HLNl8tXP29wE0Nw2ddyKx1I0L2yoH3h4rszSMZvHTIQxkyhUiaDXNd2AFYjO1QJU+2Ymcn/I0UFZhGa9OPU0MdeB0eE++6Qjm/1bhXV/TPXZ/n1SthpzrHutzV0+4tnKWmdLKB0TpRPhX0Rcfr59Z3qSS0pmHIBtS53qdWAg1WeBaHiCdeSH+GE2CW7+o7T9DbETziU6bur0eDaKNLYeoIgg/pO3B8h/zn5CrxhPFgwaKpTxkm1PDVbyTr5OgLq/rOLe96a/YHqa6bgYJ2sp+1dJAfuXz9r0NQDWOAG48DV15recvbrtOBe/EIJXUv2sZ4WXq5nsFV0otNig281gLN2+SFIaIdrMrirTtim1ThBznvdHo0/b5fQO5CyMv+LTBm105fD+OMYm3dVnL5HjKQHc2JArkg1wcCFGS4gK8ofH0AnbR6VGoiUcqITE3sDGzdEMoGicuoigL5qbVU1JJs+k/Bgy0OT9/huejrrqoD6+FfEWZMFB9VeHFUhN1U6WIY88K2RiDnP7koU8mM8ckB1jXBn6akNUEX8e+5ndMr1BA/1HSG8Re1eOgE+TH67j571DPuOoDxMxOKKBxX6yir/CmntjM7LoALQsOetQl/+OvD0nxBroXB9qbjn+u1diRPLFkrFkqYVtDHR8uTfh1jwsvf0yXt0HjoFODQJKgpLPeliMnxnehI73Kuh5gQJrtixNqxEeRHYP362VYiZR2HsfiERi3LrOLwCFaSu2gFL5BW+qcTbmzE7pVV0AswphbH0sRwDySiw5/SejiDNm3i0fg57T8DwXQ4jXpq5kGxXJHJ7i/q31DTwDkN/5UMa+zzDqURKxBZl+LGL+P1fIDsRCBWh6Ka4LPj4n43Jm9YyJgzbe5bzspGfG69T9/X2mqGaVnoc+b7uUzLy1ONQrqUFnk0BkeieLTqSs344Zk05RDHaltT6Y6kCBS9puc7qBRoCcdMq38xUnGrcdpLUArufq8EDmJPiPmpx49WIcZEedYLO+I4UiwKEWOahSpAa2hCr2FccDRYjZGFjcv07Vp4IoFgbkX/8UyF2DckUaZ7Em40vYQ6fn1dQhCTunHcnpois87XcyGYK9dufxWG3fBXGLRAxr6H5lHfeDie1+vPn/7/nUxYPzUtGJuOXHne2KX6gataLi94r7u2PLanks4h9bK/H9jmFNtv8cKbGaQblGnBA7/NVjm+b3O8gRDOr0x39Asonj3tEXgJDIOApUT6Z+iunPw9UaA19j9PgL2O9BHaYdMYCfgGmAkP/8KRJEEMGDiDQb6+OOB4y7Nh8413SAmiTGD5kQcvbQ2syGM6x/SwGAsikQIc5PBv+6AZTZiRWx+71C/OSGa7fvGL2z6POOJZSKHbBHOkkU/jC8xSKmduhxhmp1oeX+i+NoxgiW87UkdGcdvaQ/Ydmx1KI7rnryib4LFvmotOsPwE3DFYK6F4unxUnvDg1kGZLQx42yT41oOPU9nzhIfvl7GaY3H2XTtGFmTaL9tt9x8qKy5AZr19TxnPHjuXgJZHXWhfeNdTEV07lKO8IlunyFlfEiqIPh5xoMCr9UyvaCntJxMh/rT9mAjFPqaYEgoRY6nI2sUaUagiidagHbFOSLf3qIx0cWg6Z70hbty/wDSbdP+uogK99dfGvKpdTlkqqonvf387Md0BmqCwf51+dhHa75BTeBzL+kdNlcPOWpF1AYBCey107ag8gH3NUYOB4NRX6WGyXSNaiHyszwUzl+47ghT3oUY+no389Jlv0w0Wc94LKj1HpAjbttJrLuK5YFfcofGpw5kNI4RGOkbN6t2N9n36SJTpZ31qSsM8YZQwV9XgwGse37Ua+g2kh3I4BfjcdrEKbuBNYoRrDHek/wXsPe20ct9N1l8c+OjxOv1Ub7Od1rXRuYTHf3Dlgy2clrGBxNC2M1//J8vS7aKZTj0nWa/uDmZfHYm5wjQfqBz93FR2+UMl2PK9GUqwo0qP7dDxq37g6uamImwRq5EFjoQh6QzTtBrmo9rjPE7E/42kTUqkEo+Bs5ifNMuAWVBPyxqGQz1QjvKrPqWE+8V/JBpORc+tDHeEevbaE3TXK9C3k/9xFVW+XfOe76ZEchJZ1y0i7aREVKj1IQRsAju5QMCYo1iQt6RmdtxI2Ky7PlS39Gm1S7BTHjxxKT2LS9Vin5ZekKbPa2IkMZfLbrGTOydpaRFq4zSPMHXRIm8ItiiN7EQeMAdLSce0NPWtGljAszvrsSl/OABvIO4cNiY0dl79AI7X1AKdxXHpCrUXHWn37s8ZDhEM1oLxZqTH4YiqS1YPl36GWiClQVq9qqbcnJC7axdSNJCopdayqXyKFrp1Eb7GfCTkYwnuR91UcShKMmmybxK6HrT+Awi16YxTVfBffz6rN227qeA7Pa71tr0P9MeFGcM/3Wl7dBot7/8VLkEaH7wGelD58WTdLFOaFJpFjGZ+lDnfH0IuB6/M45851kXquOYgFbGGCBu1M4zEdcXyfnL9sQDmH1bwmxnaqGQhi3LTilsiznn7ovDPwnruQvwvyiLtCBC1Er/Z7TLxA7R6EZ9wbKUcU81v6YF7tzV0rHZ4Tv1dvCvL8oXJMiOKCJDhMDV+jPKe1b4Zp1kSNyxS2MOR3QM8Ad4BQlNdhjzXhn02xm5K0ux/qquW1bEKiyKYBPHzqF83BAGVzwLPphGjJcAXz7nfCIDb2gpdlBkdsB2oD1eC2v2Y2xs6kunJ9w2/nxugumhR+Xy45g1oSy/LvkuOTyfDfM5497zVS20VgViOJJlUmWHMNH5YtSf89VuSxQQXs2qat2Tle9vy2daBPcQW/RHCBsCmdJhQF3kz7bKCeSwG4chRwjf4j+igD4i3mLFWzI1Ve9sjpG9fg2Syk4wdU9MWCzf4XT7ObZyux9pF0J73AXFWBnXoMOTSwJ5I/E9OHHJRL28DbbMxIjVFnoqRdCmaj/k7zCN306/fRyg+Mh5Fdpq/2rFEos3H0PRjZYhV8DU8z3539V3R3Sph6BFOzx/Q1lpC+3bfF8T9xXktEh6zdob/paBykfwMwit0s7Bq4YfNDlgJAyW3iKY2LPVZJlF/1jPoxLcZ4alVMjN/B8HHkj+2hdzm3+cv2ljmTLGGCXRIHiPu8vdGCFLlU23JHwI4rDm6hn8i3KmWBSYZ6roKCRGOV/ucS0ytDfrSq2J+xsr8NryYgMa2rtHPHQKw0TIZSbiDPs26tLgH4cLZJnQh8xiuB7F7Y3rBLI/rPSst5mqDHLFlT2x5b5TQG8hzB4ZCFyrDhXwf80ON82Jo/gFS+C0SyDqwIP9GrOJs1/DaPkbNmmJ3ZpPK7Bg1iYGJpVqjyVRPk3tYuNzjQ6Ju7qlPyu+GmabJv5DReG19Rf/MjEMIbks0k4WNULhho2zC3iW1iozEtY5Hms+hqiUzpSb6S9mtZ79lgYEZ4eZAscVDIQVOLrkNHive/eR2luSc8CZ+X5RZWs3KXQ6J6+YYxzDzF6AqXsP9qL5SNYrKp9IuJlNX+qayjMFHmly5fWSs1hqEMvZUznPowNuTHk0p9CjvArG0H34t+3QSnJ9siDfq/PNov/QDrb71MUEI2YtipCrT5nDmbPcF+bspr2sC8LiYUQWiFhhpkUiAB9mhDjKXjutll5XlTR0K2hcFg/r6Yyq8ImAlhrl8w++J0LuwCp/HN32sNXFyKey4CzpXOtalP1uqWs/pnhE3lhvKox8nYEktLFIaupS3jtBed70txapGQHr049rqyB5+cU/pU3veKj6iXEYzD3U6IFObJ8ulP3t7gj9DPvEHd56SPzCENH8K9T1cLSltw+F4eWLaXaiV/1yhouejndOVuC28rNA5nY80GOH+PNJ0gRR4IJWv7aPt8qvR+3/Q3wyYqeZEuyo5c9V+PxI7Qelnnjrfm0DCTTUscMj8L4yD9EKsbxdSQ6NZqJR0W65xvyl3mPODcOOJzM8esajZMeqeCIb/iMhN4LQrmgDv+Ehi/24JB2eY3a8xhCrkBwJBVBCVb2gqWCPEwm/oygvmgF9LIaCrmb6mcQ5Jw4rzJlVFj6m5UVs5PneaEY3vnE1c7X2zEE+o4kRpTqP1i9915wnsBmHNQ4kXSyxmsGSgOlh6QQCrV0CH5x85kdk6qljIHLd5Ynjyjoss0TpKG72RknO6XyrTStAGalumizJC+TUdRzto/oBpdB4c2fV2xppzKtp0k73KEHCx596xVJyhICO8p+bL+KuGtC0GuSuZMi69nUdaWYEtgsI8lIoFa9OBJ/92iF1/rBFbhXQkdNPskyW+QwmXxIs2CdAEhm2UFDfw/qN5nW4FJtdReDvwzeY70omjEcqUiBJManZGewXA8J8yG30h2jW4uHmTCavDJYyNYT9dtzckTfFnb7JZKBXVcQU61euIf7x5Sz/XrBxkmm5e20F62MXCQiSp2+zyq9ex4Fk8NZCn3jOglfXxSj5ZII0ydDr3XJVE7t8h+0UG+ySagxVhxqKv4bhV6KkOkzvsSnFT1XBRY4bCM4NJx3aWVXVjFddHF+WszlLTfmcwSh9MGANqovbmZTSvh5kvUXvtUlsQFH5gJAWtXiXgCf6Ev9gBJ70HVmTzRV6WEyVh1Bn848o0xih+HZbUlGcyYz0l8EAR/ZMIVcU5kmt4tRKzFh57RD+F6tYh7vyiC+nKbO2b/aC12FJjdjkUVYX6XgK7RNYqIg258GAftnCBt0WKKsERqZn5WlAMW+KV6B7btWG5gGeJIGnUUQEHpZ0Xp/aqpzCjDHtbnkvK5+kzdKkYmcF0w8F4lftWf/y5BEMwNznm19xgpWwsddj51zJNjOvyvovVJKYSN4snviqIRo5pv0xIg0dGh7jOMH0sj3r6wquS4usHfGLH1b4H3pm2QYfRJTIom0ymnE0vkpJEJJBacukDenBS117QhJHcQ8/F9TjELJCf2HAlzDP/VgpQUyzNuvYAqT/oAOloSvjnMebRo2ke7r5vnRhpUq8Mh2UD38VKzVZbufr/qR618NQnomTtPJbOu5yB3RNq6PUAx3bpVYkFncVUSxFcYFSVeQuuOd9ksbIniLBrJKvw43tW2imC1D1+gyoA8OBSuGtIWQNnmaU98g0TfRPHAa4lfReseiUyJcMMojmmzGvNqbQy5WdlCAMZzGuWSRmIeSGPoK9gHXb5cRDdluFiwCjGsVyq4bNriQsq27HHRZXTy2qREqN7zm4QcWWuY5B1Vb5Z/It7WbAxOBzBWRg2sb2xcvuSgjiMpxydVHfaYPZ9XASTHw6+U/mFH9L5dSUCVTdN8ChQN+FJ6u9+QmJLTV8Pjitn9PU95Ppb1y8XMKksPuxLFuduvjJ4AECbISns44EGRuVfnnQcU0DV+aeRMkeDbNd6jI+qTvM1D10i9mj6dDU1UA0wB96b6YjqHQU0iOsIHN6+XFw57P1RA5t1HiMEQGX468igsBLgRxuadPylobqd3dxJVN+Q+DMUMjVEqRh0qxfx8tM9hCxKKHDceXySAXrMqj0J12fG3AjA8VfW2FWatqCYqWEqnnBj2JcAVFhk96GiV7wimTZ4GuCFaR/RBQ46nM+UoGSU3nbmrilSow/X5JR09oHutzd0tBUZmjiv9J3D3MHZ1bz+RvVw+ED5Vgkz9K1TALGApDcThC6tNvBIDNLsz+sO7f7JOJ/OxHgrPIFXLypjOqP0ZWcbGJW8q1kLiVC5Y4Ar8OaB1xpVufyTfeyqLjFS5uj80qZig/yc6GXPs7M/7DjLUM28FOd80/7mdDWJ48qnNmNDrMAug/X5W/73jZQLTqoGrtdmk09AIxn3u40YIhCPtgQFmzuXiPJQ4RDET0Db2fd/ETHVJkAf1bP8AZNdoBj4Ggx/Q32RStgnz2uEkbUk832HhGRaXyeP4WArePtc9KSih9JxwcUhWz0x/C77sO/7s56KyLAPozQYJ71M2X08QAFia3J44qqCwshr02wBx6ny0NuqXikCWJsFgQz0q6HfM7MT9/VmKhX9azdkeE/HnRZPTBXS1Pb4qh+tp1qmfjFdPlrPKKNzhjv3iS9ffUW7iNIry82EE7D1p/q9pFvyEw6ifB7I72irW2a+5bLNe464aHmmU383PTxsL+YtktVFNOaeNjC6Mfeq5MlXr68o5LBrh6uueLPTTbARX41nYxh9ki5ewWCDLY5Hhy9cTJTSKihIKc3wI03roC9/SoO8bawsse/7rZiGgk5f1cKjzPk7F4nmSFo/p2iV9naKCvS/w/fKgClH7yix7Nn3a2qPo8Gm8zF+GyNWfFkwyliH0DLn6nmH/+BsrRCOftBXYpDmLxS0NwIiOr/bSe4tIjnh88KYIsER4O1LSFHm8yfVq1/FQTmlvKEc2ZzCQO8pqC/fBCM8Qjday5ImgR+qZ3CgdvFEgcxUDOsXcg2L5M1Ux1FzTCmCGn9NcY19kKnDZp+yETbORgylDUAdHazELw7PpKBx6O3HBF1uH4ukZ9ffxqfSoDG/p4eNnTrjqswQn1FnTRtCQ0G74CX0AG+acoY5oML3dK5qNivN+RfIDYNfTuO7DlekuNJkbqsnoQEVNudUzFu7dbrieBh+KuVSj1QQWdSGv+2hr/ebuownFBY7ikN6kJnA8PPb4b5SDExPVOHRa+FP4kBWLCzir/Tk94HsHotjDbXZ+ccgBxkio5+HUjVHhJsT9iVBv5SsWv3Wj2kBGeZSDxtGvY7JYKJKzOOiwXm8MDGdqQuAW5o3QNxayVWXFTLAcuJ9ujdPB6V+yQZ6L7kIaraqHQ4yQr35lOXhLIZ9FjdG/o0XE3OjHtN8glGLsl36GERZr4M1oNtAtwmxsqf9kLZ6iJdHw62faabZOgTkfS1ykpd68MIeF1AEMQdb3wGKnGjQ11DpSRGV7tHuZ2tvWFsR5SJTflnUwiVbjt6Z4hFhhh46biaolshpZNMXxlatMV3qIKLt4XMDbhXRDDwVs9NWfPSuzTV1ZUxJ56pcXP9vASMIta8z8kC6JOM+SM9Ko97LDHCPMICYZB9UULFAbFq7sZKYJzDBAHJyp3VK5qi/LHcbio5u8rlQtXtGO0U++agVoLKK1tZ+NfKnleFnFRb2/kG1LUlzhKXyXjxC6Pmbwc8EhpOOstPdSpnYcRURLVCMNStOOejAD95GqPXvC3r8W+vxjOT+hCABxrRfwu3zchrfmDqq0+8QsreHlh3Ou9wPZuNhoadflVtZ4zhq7TxNQbFYAY1X3RNjdYLel/zWTFruVLFJsg0AS4nmNn9OiUct/MRbbQvYK1ttyaDiVw68zxY9TpRxCZlHnvP7w1J8uNmjC2AW9KhAkjAmgtA0GI3evtvgjST/Tqn2j65uG2W1rQJFCe+/qv9WknjuaxZfXoaxavMPk9ErI9dUlH1wfZuUoTtWh9+J8EPn+24nocB44Il0gSztEt+7U0FsPToz8EVQD5QynEWhvOJljf46FsJHOSmodOYvO3ydq15NblO6o5/zUjUdBocICm6EQcH5CgjyGMjd471SC1JL4mBD2EfAlQLclFaK90/oZR7+8pp25QaP2lgVaZPlKQiH9zyE+ufC04nIiFxFlyX7SgQ7afsF1Zo9RS8lgNYlW3SDa+YXoknGBvBv0RyGUZU6cmWvT0xBrXlLjrp+yYHaPjCHW64ypDyOeWOXyCwzEU6blf9dYvA4jHeaZkTqOmP5MGfAVchU0rbZ0qb9v59SRCWX0WmTgMiGDcyOXOgnDDZrChzksXSlImXCApjhD7+33caM3vT2d93M3q0i1Wcq09KXGptpYfAzFbXLYAsps6JsA3m1iRQcAMtj03xJ5dEf2VWtnDiwLDY4uSkVvorVRbBFfWTBvZNcM/TXrfjg6Gh61BIo3gP/sAorMKlLOKQPjN18ctigTbQaWpBGpTjJwOUpom1sUMv2UwuSF4LOvTy8ufC2hAlUj5CY1u+EdWDNpqlJq1WOCNPrpGt87YiRw8gXGFuBQDg+cY/DJ0pLeYPLnPBUIgySd37xs6Y0PHearZVLuGMfPDLbK48j9nVaBy7IS3lANQF6/FOtyUthpfCJDZoYeKArvXPcbG3ATr4JigLDjkr9qzAvu/6w0CTqTXsGRm1d+jIReIMyxK52dhtIIB/19EQ664g0Y+ZbFSz2oP/XZMbUXibxxe7igmSThb8/nQLTzD9BeinoQd07MNJAGdA3whDbb0ylBVOfQSfkD08YxgRRhpv9DOZlIzUneB6N0tGewkDdw96fbU7DW6lpqKtgjcWFuaqirrO55pkq+9kTeCx8RWNmlbmrvjJqPckADtBsEwB9q+C7iJ+Nk8zSqO9qWCucfuMH2eVnzWBWp1s+zSCURxE64pOUpO5c1tJbnimyfDTdq3ZA9hFCbRGAeZDNwJ8LCC4wff8muvu2D5C47NjBLgZGQcHIKGsKD7CWEH7cFXYY2sTKMqnJ2cbPQeEYaCa8IChMtkxXiorJM0d2ngy3V27OGmhzsC3Xkx/NAZ+/3Fx29XBGOwBMMFvkIK6IaHfEZ5Jh5972H2TaPVZBVfJcgcFRGftV4sk0l6Nv8CxCItrVJKMmUaRIdg7dRf5VnhxAjmfEPMamIPshjArpueRz4R9JeYAoIVv7n7IX7edyD6t99YlqbwDA2bKaKEANoLc94T4VgT5+mDYLHIKedl5oIUrflL+9xeIu13MfPSGq0+o7PES2ljTZTwOKi9S0WlJfMjlfc546Dq6OikKU/9rQO/pQBEQJDVGM2CTro7s3jjqmdzW/mCFILtNq/4jXS7tsbsl/8+vMmM/VzDgUUHWPespoaRZUQvEAoS7JUk4rK1p8QGwL40/6b6VOwYuDQ7s8cPFSm+7gSxbCcqyo6nVViA8r87rAiT8ARVamtp0PqgFV4VB6Qr1LkplaihvHP86A5xXHRW/xAVuVtrzPjWXTpC6XXWd0iN7FrOQxoJqVTmLljUx6uWQggHQ7oeTDtjNURIt9VUsGZU/T+8Ri2tlFUJFSg6REYRjXtg+UCjiGo/5JklQcxs8ASk8HPi9oh9GqI9saUuBYhlraNpfxh1cu8ryGBPHyyGIDuoSJKml+9Bg4ITAURfyEvRaPMGPQMoHkJgelSc278xQWTxuUc8Q/2KCkxvgOnORWtstMr06+or+EjK2B5TRQs1767KQGQo6HMFBs29WgJxs8W620iMD7gkexg/jxgdiic1nYuX6JQyZyCzyUF8jIzecnJXd+ZYMzagkzwPHTTzszK1jfITO7jbUigckrReAjtbrbqNSRwWW6aqU1q7WqxiFDmDw3aw7kMFYa+4zMUGkwlisZgUhpOsoaZdTAsH/VyDw/vsSlBeKFsve5c9uW+0LWGF+QMVOCV3vdJBblZM0fZF10F3up3ueLfL6zHlNlPAB9UBarxz25P0+KMu1LXw4+ZN6AvSVFD5fO8yrD1u2Zmc4Ze2/haH4OgYOZSJqSQQzQG13t3wMqa3cXzgP+jLQqldYVbZMjMifIWLqJfDh1wq8jAT0mEj7UxmrT2YidL8A5iw+uQIy8Y9gBqAOOd53WHcUDVfwOqRcD8wTWVwJgH2k4coA3hx8JPdUh0bs17nhpaMKcM+f1q07IFyV6Dx+piyvvRcY1YmVPwW0zUjvv2f23Lc81oQuxbdFno8ro1X+l+JYvmLRHXWpX9tdIBCaC1MnGOYlnB96L9fU1NNaKvxT5wIedU8uYL07R7dLlSZvmLZV0RgzqWIN7fd6p88R0GWZ3TnXR9WejWOP1jw5WE8c5/SZpvgBPCL1ogd/f2UW0UKn24DPX5JzFDFA6eku+d+mKJlZ6Ub192Iuf1xBPJ32R4TeK93haxmW0EUOr5TS/dFx6PcNlWDyP1df8wZIAkzN8/FGni1bjVHbENgGQS/oNWJyiYW1bo8xIUOIJjkqxXQnBYrwYsuhlbn7+p6875QGw0ZXDkUyTsUk5gohdDxjqcHUN6ic2B/+JMQnoBOV9hQ3SWHIYPVCFdgBEtYPECUbm68HOTQ3AjLGurW0PQbyIYSOiGjwG0F7K721xubRBwxxYVG7zL9A1WDhrdg5sXC7FgaxEuY9p3s9IGH9P92T7r8XpJ22ZZkDDAw/wEFylkToxtKN4+WE/BGJAb24MP5gVZ307a+HxFbd1Dtf43+OXKN/4HB4H2K5zl7ytkZrgUCh7xSj3whu8pYS/fg2ESAjNSv6+7+Hu0xpgblW/Vu9iGE3BU3+hDYWjNgcf6MEIJaor2Ie+2W2WNW5NOOyiaq4gdAykg/Katru2VXXUKb70EmeO4PNH1ZWY+YR9+6AQuGmfmoN9kX7iPb75OyDXJ+a/0iS8OxrwDZRT57muJuLVncs63lm8foXL2UZFqAOZrDmf/vXwIetjP1367VH7aXCa4KqxKqqFUDDF8LKohVnOl26phPDhjyDDfI7XQk8lIvrdeEU6Coa1fRH91pkttbBuTf9eKBlXURNNG+dpmssLH2pnMtU7weQPk9E1zLkcue78Aw7459Fi9j3EB2lR42ix3FV/G/wCwcjSL5QpurfrsIfjPW/XpUCzTQs6SrdwjyzecYt52MShfX8Gi4CEn350T8E7iwsAIe5Df8FHo2rajQYut7KP1yjxg9dJ5PLc9Ua98mwVj9DRtP0f1GdZlTCiTnUdajloZa6Ox8TW1KM22cZQJwCVfO+HHRVDgLnjj5Z0NfS9RzL8juEeXWOb1RN67N/mWJK//FmcOQo/J7SQzjhItaNVTas/pa8AhxOuW44iyNCb3Dq1y2KmHLD0bxomjxqtN3JoPsqgfV8jdTVyzcYOF4t82WlJ2CI3uzsnd5hBiuBFzgTFmdOhci0Za7uOJF/OFNOybY6BwzkHa+hChQ40J9Hp3/K0cAKQ2A5UQwJcyUKQnN37/XBOSh3YHaD8jlRENy7PLluxpi74iA6Rs1YA1+wVe3O92wbIgz9UwO1OhzdM9gDkulTzm8urrtnz54WFIJ3UiBO1z9OQHM3eceAzFsX0qbLitmaXxoo1AMoFkQmp3m0dQS+9uUHxrD6o8abukm+6q7izOyFZQLWMTUumpHP0N45PUfxaPoD4EM444quKm09w2NlIeoKS/oFBILLMLRTXIg2HLg8edTsw4Jo+47W5iLSmM2jTUPSpIx0g6s68CSuTG2Yh+5SVwjslMs9AL5DnjXDORwLQkZsFrGTmieZw8KoeM759pmoKChi7dFj8HLc0rR5eQrEFNW2dRbX7tpRnBUhSdsKlXP6cvpWkBTGdctWJalzQnOZKLBDTe8aKnPLhqJ9473j9A7zvU2lvAfppg/nGGgk1/uzbpFBdR+CMrTlRcGDZj2T2Ut03Fw/0v4pTXj1pFguX52re0tczzCUtDmgJrxqqsjDGmoiEyZVDF2jhNCc4/+LFrpniSeN6Qo2bOlRNlK0uoOG/G6iqoIl7Dryw/TpjXyvVK9H5bhS0e9UlhP6Ii8qZnAOWxYf81k6IndMr41IYeOOSG+cpj5fClxm2PZ9DRXhKxxA6mI55fnbtuYE3FFmGeEHZ0OJby/acbmQXTQa2eNaBIvq/j7Y6wLXgybLTRxc2UTC4xRMDBcSwtAIJTX1P9ogmXmwGPr/U6dlpf+Z+veYtA9QUH3rx/LI91M/suvn6SipkRp0rm6HiwVDIqsBFIwqJRKAmHlRDTnLB8uOLDzoF5pHVaCGWYWP+t5BViOJZZqCH8bNBP904acCIu07uQXUrN4jIracMZy3j2YHZdU929MafxJZDOeiZF72RJtVaS59N94VKO4cx7HY0ua0olMW//KEPG0sHzso2jbW4xzUDDsV2VikJ0ZNF1AHDDK/Pt0kpip01MrFtf0C/IYVSA3tPDpqDhefRoswdEiQ9hZTeK69wAvlbmdr+VZbv5fddpKEV4mpzCaHGZkhsT98f+923YuKx2azV6JR4NC9sOuHDlzNoEJs79QaGd/poSQF7FKLX0tMm76fxcvJp2KLAg64tWoV8usiouPGL2QXzKruavP5E8ystD+nLgEx6acs/iAHRqMSvrxW9NaClWwdOX8GbJixPf0t1W4Wu0sHa7DkqtceFK3gqtinfaHRIaygWKsIPSa9/EMLUPBMnFrNZ0xFMo/rS3VlFxuZylhRlqX74HUbS6ibgn6bfc024FOcaQeYERigkma0k3Q6L1Z+UhOjfXO94FujIMLz5ZLMrPQt5doA6it0iI2qwqkvmMfEsn/iu4qG2JCfzKd94RWCdgpvFlkTejncDr3wh9N9oGaMccAt85cvGLX+A67OlENDMB0kogHed9K+WRoB8jfurbjqHeICQwAMhaNPBSTJuw7+pn3KMbnNU77A0K4V1lo55bepcBXotyP+gHOujSiBjsTGd2QUzBfsZoixM2CNHUCbtCBRCEzuLnChH3HPaJeNa9x3RJ8zTX1pobIvpyO11ikb0cdQqdz0ifNWOCgdKqdPDujBFjXplHcbzxaUYTFhcTbVl0Q77IkE58iUC6T/Rb25VmqRwDi0Xmij1fb+Wkrh3JOJ5kWkVzoIx80xpzJofS6vvrD2yDFFxY60u5GOOI30El1EGIGTiZcgYybqSu1pbaA/u9oDiO0WO0LYOjP/h6lYmE85pWjm4V/cpKRNKJW5Ohjx6xTbmsHxocIyEyvlyU0AxtIkq57AWEjZIBV0ffRV9j7np0xE6vDf0ZUufmS0lM1UO1pDYp7YIKowau5mmQ+MsL20+E5686gGY12rzZkG8eSDYqSZjct65lrot7BfBRea7EES4QwAenAJOm+gA6Rtm0t7it17ofLUkgtRjuntEx1FZfv9/YUSDahTvdyN6mFSqo4WwsE7aIcWn4CqMg6FmEbiX1RvmTxf5PaWQ2I8nTfAf+IEIarPi05WV80R4CoeNvUm41tO15AD47mTuwAx8obs3jDHvM+N5X/452HoAo1/Had7sGIPVc5RMknrWOcIBtrUVh0Uq9al7Pc8niOlvoaLjzD5h+fm/jxpliPhX2XW8thggoxdWVUpDmidOnGpKCWH0ZV6GRSNe0gTqYDqAaxVOeVw3/VRuJhydPeN/By/FNlH8jK1XfONmlffXKLfKarQnofG3MnI+QbJrgyqslNRiUCGWHX+2WCKRLkHrkcxuWTZQs8o2QDXgQtOkFJbtpIThan3jmmVPBf+VdOKABo9R3//0prbKPyBOgSvgZx7A2QRp84IcV7zmgK3gonFgPhejn7Dt7m+GtFI5vykSXbjegJU0XMPubX3DgqzV/Z4LlwwKR2OT982iYTd//ZHZJjwJnrzB74BcgsU8zFP8ryTFvS2j2KXXIBPnpZ6O0R57pQYAJcNotQ4lrd1bM3D0xDNk9avlTHNN2ez4nn/3aFp4CqDpQYglYX3fnbx0FDB7qpIR4D6HZiFy97f3ZsfUwV07OwHktSbANh8sdgIAm8g+AASWX+Z1R94Wc54X9SY8xKiW3DnxIbbq0tNrpiIeJTNWhOTWb+dsdrFzgWbnmcFcoiYNNQ8VZ4lh0BkyFXeEnp1+TQfPdK0nwYFTJ5WCsiGoyGh7Qa5S63lmeOKUHaVsrfYv21rQQGw0OJhxp1PSohoSS0evlEvmD470ecQWdJin5LH6/MTZPpRPWyRkgvrCb9kRkdNgla5N1/pTHxhkmZlULBY6YQYOZgzhD+nLeFm4Xnn3N8SBKvccdQsJwNznSBbinMpY8s5txzQ84MatvDAtFAOgganziSRDTduX9xFAjGgvzAq/g/8JwFPWkS94aWUpVGK9Q2r8L51Tf+oMcFT5zfw38DeD55aJYbIyM9bYFLOmSqzXfnoZIr8VqtaAqqxC1FH1vqKRH/P7NROjLjb2mi1cKuuWl7eyHxrF1kjUaiyP2zytfSRYhhqU4Ff41HexiTm6YAGWq5gCWAHV53NbL9Pq8Viyj96KMTjIAj7DaYrqH8p/7zfJNM9ykkZs3siWz4kywZUUkDBButLc4fzfjkXFPiq0/xqe3mKPYoVRarzcrbzwQLK3vZmV6jN4JW0eSDZGXU/h6EsBoaR+akr+uVpoypxHsaA4wDYBt5ku+Cc5xOW9M+esR/qF4k3tSarSxa1d0Xrt3ydgYo/IkXRMoJiYLjewhQOlUW+7VZKTN01+vlbEBHL52LH5Tr0fCLh5EyEfYA8d8tES7/FGhHJyGv/Z7DMKC+iaUeMYXC5DXSj9YCMovKBlBbyRAYEDEWNjNRFU9su2F/GmQMkRVSNOcDkrRlSFKKqSgeaGFOqxLpqjwOHDxunRXakBrAjH34Db4POqko+D4aAZzjUZz4PmlNmwAuiM9giIdsRcBwpsonQ2OEbn2x6BQtiIpZgb4pRgdUC+Xg3ZenXpB8gd66plrtcEjMcTtvVt/P7p17cGCzVXhjhy9T1k7Vb/t5nfCv1KZ67rva7mcUaftoI3tGqn3EgCS2CemPC+TcrBKNQKK9LYUXMlS900HIK7VhEpBNUCg3XtdLwlrFBIftbR+YaKBFjhTYJtLZevNgJMk5W55rP/EaaNJzMPa8IbeheQebhknHYBJ79y7+pztyaKg4/AbqoVluvfwHeglt77bL9FiWLkl9YV0bgBCT/rD2RMB1eEfA4t2+WQ+CUV8ami2xI9DaeMrMbDYZOIqP8m/3LaHSrCRu+A3c4/Mwuiriy6AQiPNiFgLiWTdLlrDCFWmHYAcDsNoYt2roQR2rJf+h5fX0DyBTzGP+ZrrZ0A9mpzB+z4Zn1YceBJHLKdxpzOQq5KkwrO4qSU4IhycY++xN/srX7SZylrChQQ8kRnul7TdGZPB8hsjD5y7sNNbvIlZ+Iyk6diGM8JurrZ5FavcISGyZgPlgVG9Ggi3ff0ZK2TwNWF8r/CVBgDPl9WuFN//65P0SEtf4hcrqByIu/PmqI9ezqMDtEu48tFRT96HY3hOgXvpNBZWQrt+lDHdgG/pZalfL5ZcuK37pIlCP7ICqfkxGaOSBp8mgQR2t8R4o6ElZ/TrcgDXLiGWC8pTSYF+ccETcLKka0DJzbOC7jKRghGaJUpiYeQzExwKH+KSUlNc835oGDkUw6ZKh5fXB8XOfflVye6x8AW0lgiAIlOOgdnsxLfPBkezY0abuyhB6DFn/IJ/LImYvVz1i9ws8jOlS9u9mmVuARyF0UO+WhbCAnLtX/oWlmLVDSDpYYWZD31MTT8j6tgxKVo4tE0+abYyRTl9HiiBO7OE/WvNh7ltYezgBmlk2v0IZp5KDx883P8urZSUitWi3sbfws1Ub7y0O9tu8IGdCaH9TJ/nMivikLlyOmnR4b2CNxDQvA9g1DgjRXgXg0aywZNgMQdUKxthg2x28EaGwJAFw61q2L5OCDkvlPStXNR0l/Pq1blF8oeegKVIT1WvhLWfRJvinzZfF7J+E8fjKIrc6c+Loe0/kcyBhxlJF73sJmZsxodNxHQCfs1ex00NlNgQ00OE/aIy9s+SmiCsQGQy6qr5Fj0sx0A7oVBDstT3rfXToQttPe6xk2hIyY6kXuu1MEUfZ6JnRyyGEnb8+qtRhPR9HxrDQN2UvPA2mTtjZnjZMh5EsaqhYpsWqE9EKeHbwCqlbCC3osAniLPev7JhEHVIFV4OQnlODOFXYTIs/EHU3gpPmJFPY5I1v2/wpwHOhi1YyFgBDsa2thWDFvkDgiFhwX7sykSF4Xeu+pKiLk7gt8wKuLCnOksU5OUqG8hOOJZULkq293vfb/Mk3S1d5XRUNPZuqT2SdUsDUs5a9quUmQVQACqxFBZc8aXH/15uAxLYXuS9b8a5shzqFDCS0kp+7J9jGQoj3CtvRiDCmHDczkssl/1CBYLcO3DRpb9Y0tiiU9Kf1HLEfV5MQsthj6b35WfMx2q3kHVJfhf8EzQDL/rMjNqUs8E2GKJFdMt4Ir0t4cFhY/tIsMr51KeVZha5pNiNd7zilHjHZmgWVM8TsSMileS6BnTXv0StnTk2JgCdlPNBdE0hzYANuJ/PlAuYDh2MbitJ5UUE6KhjLAqRDJ/TRFm6YvJ0E37zqAlQ2MmAT/tucCvIc68EE9a/FVIaWpOw0YqeuLIj6DQ3nxmJa5xFbqBp+fmurImbZu1cGmHdLpbSO7R0w42dneqbuAyeK9q4+gWAYYQKB+hcTV+vK3LFRiklbfjZvZXBs7G1EP+UW4DD7Sj2ngzcOAwTziprOTgPjH3B9KgsGNVj3fJADFrBulbyJbnXPZWQ0iBxf0TyXdDBgrfmCx43fMowllzNlhHo2yGsVuGJN9ZgN4xOCqvWkLDScXUR2IW/zKX4pNO9KVy/T8MaJwcyGTynV+s17e282oR3UWQCKy3P0ocl3sLrbvNeFBbEzoiG42cnea8+YFEhkFCYeeZfdmQmTrgslr7Tl2K9knYnoUpB70u1s6i5TuEzDQGkH1U6UC7ZA61bgiw54L4esSnY2xLDYiKwe8E2VQy4/QP37zuirsZlvTL5gbt5xa6RnC0RquUtBJrS3J/RazQlqZybtvzQgbU5LaRmTn4FChpEt3BwOplxGVE3Mup8FAjNg7KRTRN955c4ROVRtC+ys3YQh5nTIiMnVJWod4XldATEEcCUX8ezGdIcEvyXs5jZRuDQP2lpHor20SxqwVb7CbEb24ooOWzB+9QSuAxdz6KFwtSF5pijS+43DkEO49e5Z+wo0VejvyMqzfpJSD+vctLETfw9SsKJle5wpraaqiFoAOX6ybdyzpKiPRTNrWUQCp5uJt9jS9rD7kEjnguHKEJhCRcUptyYRaDygZMOki0JvpsnYFxxP4m59XBaPkAp4AMrDe1iL3iIsRJq0k1dVISsixZ7O1UCG308Gnv4eK+5nOb6bPiVBxr1EkEvzZFDGhWpYechybJs/YvCU/PAv49kNj89S17OnREQ2ET7TbYxa+x7Fjd5Qqx0Hcw9oAEp8OrtV//63JsDfNRLK/4QgGZlFWFtpySEsfpUOrUYDiSM5y/Axs3VQZWYgDAi/ou2zP1qDMZH7zAFXsHhSI6fKY8Qyzei61BuiFoTB2RXqiTYb/yQBze/AraDY/qbXa6ViNTIszMFSHvinBiJKDeRmSfe+b2m6OXb63xkzmAPz1w1d1yFg+g/Vr5Mocr8EwwJVwq7dxgGQabMPsPGmFwkAG/jXJDBaAB1/qLAXSg/vOIOm7w8aYU+cvG12zzwACH8Ueyc75VjVlpjONoW7zwUi4ms4eHC9Ce13P5mke2wngU4bTENtHocJ4/evPyQZnxkgyNdr4dXkMNhf2b2WbL+2JPJge5dcq4wfUFCwmK5fGjvwFnT+8EvztUagcGCNB4nayzd2oJHhX37aKDndbOdQpuSN7aS6UgN61EQcQaAX9qbyjJcNQd+PsoHWU5vZAdFpQZBuehcs9mMGFr7ha8GJ9UqoTOBWo2494FEZdnK8t9h999bXH4gwCwoRBuXd73s6hOUQboLbGrxby11d4yLaNLimvZAqxLRvWBk8BIZJDhwswjQkaBMvs6Ef7XBuHuscc3yoUKdVQZm+sNzhO8dB/iHQx0D9/83FJx25DD9uvhPeeknpyCIamQW3DKAjbB9TIA/wQY9DrKbVUlSRiHT3k9DmXHLCox+SrSFg37lWV7fwz5kAiVBDVrliaqlmNu7g1VeunVi2HCU06ayqiYwHPcwwsvpc6+RQotGPsaF/zxHEGLZ0TEA0FU+NcW9bryyGojFCrnsMLriZ4LKrKYOK9cokG1Mml6Zw68B6dWMYubcPCJdgfejtRKrUp9Iub9Dfh5atCKY6uDKfxskUvAT+5ZUtFbTq1L2Kt8R44kkC1FGjcZ31TMj7Ueza5+5wz89eu2na96j6wygDD3xNMBA88ZHHjjsRpZqFxhORYC2gwjvcI1JP7PDWxkQZ/Dn9YGiAMsOARRj5a8cv7rc0b3ddIuK5/KZ6eCY5ua5T2JUNVStkdkyGxMcGYgbkrUpRaIeINpCz7xTrT73c60y76S3I3zRoP9MvJjn7+sjDJQuT0YvMlvsdhzIyD/3U5afgJ+MR0SqzcJatYVMEUN9spizsnL8a3C8+xHkDPZm3RkJyQ2LXt9MqbTiQKbGjKiZURLYITazMugL4i/B+FduwF8kzrQV3OaO0Pv6ODVsI9MPFEhkdiHgWf8s7WtkYigPBxz+XaqpkUUNgQ0WsmLiXG86c0IdeJIy522RpF++B50LOjhrm5kkXJ7OnpZt2oB+VsvRxzKO89Jup64BcEUnjpopf7riFLEuYMLlda1CsheH0rZUuPr5MoCeUERgR5oepeiYIclkQWd7NMbEL58aOB5viKkhxD7uD8elWx8l1Qjx+grmIBiY2chRxzvQqgNzvDQIV3R6NqeFIUFAQFRSnF7jIANbE+e5L3A9PcultnPqsJ905opsQKxq86fCAdm3RLwjs2V4LXRyUMD/cwSz4Ps5uMDqNJFiG5CJIMWpWsCDZFYgUC4SXuvm26tdMiOgTRr1EqTX6UBbbBPLyXPircOg9qUmKSwxRkb4gVgtrrUwwc/HY5Ahsudr18Y7RDprpSl/4qWJXhsWSqBB/TtOOvJRCXI86iKTmSyeslFlsO4zJK/FRPTsSB9OT3IyyljfJn7V93PXwSsv+XOYP61J1+2OpmqDxSUmFxFxicb+ObG9PE19WkQNmh638BWzoFQN4Y/t9nP+f+s9F8Bd7K77KOQtS5clOduOWunWHjemQmYsiLJ5zLi19JZRVw0gND5hRvrhmjOf0nco6bnPvVMi2oISsso2//0UsX2A/akM7JUWG4tisgGF9fnfDwBPWv60Rh/nWPrzCPE5VS1JL1NsnnTQywxZMds6EAU0EapBA/+/DtQk1SpsORRunHuaKxrVDSsI+ezuuoIzbHpekXs2VJpwZULuO8W4GiBQS8LvDuMCTKnVPNkk9KVKgq/KOlfihht6amEEbDC5okgUVbcVUmr6SPSIzBLFeGFN9RlqOvU8BcFsgpOQrIXUPu0sjFj0sNI/HmZEk6VUOUC0o2Hmek8tzw3As7DPTpYlcdyps0b5CRcUMAPMJYSQCKebDHMdajT9ET3qmsGAaYFWFcmjBtqjJ0ILd/IQZiLWdON1hD0KtiHQAxcfV/oXbPpmuVp1dgdvLdRaGS8ULJkMGXisiK1pvpLrJh0ttU2D7n7X0byYQ5m2wTPqwO6Uxaw+HN4td1TYgjlEgytQaIQA1jPLQYYAhQoJTn35kQS5me2V6Czas9VtlqEjDhV4iA6KCQ5tgaIKfJHyVdlmBwUFU7/EeSNXsvzXlQRG/VN/uBpNLwkeDyf52MjaHT74EuX9lsJbK784kEFAqP77r6A4YpIsSME/pMQvY2u/YPssUkV+KYf4lZTZN2z1a6W7os8haXGEaDQXesti/M8jyR6g/fXriS7ex9jH3kHWZMOKBv3Qg7sPwnCdvcGh4KeR+5g0uf04YNVPHsmKz9UdP7pk5JNMtzkiAkmOHudxQq60xnrF3GkqsYiuwe8Kp210P9V8iJaJbClKk3pK6ZSQRdFnupDlrZPFEsrBkgKzFy49qBulZPOj42wgj1JbE1KPMEkDYRLccvYjsJBIrL8OzDJbhI2TQbbBs90gTi1KP4AvgNQRu80Q/91W8w4Ni1GediH4kkrsClDOLQpyo2pBNL7Hwfrc+0lIi+5qZUUh1iPm3xTtaa6uiPaVexo0iCxYKYYPYvUpiM67VPSgkLIrk8oyiismUoInsPqwPVcjtEaq8Q0OZJ3SIexXlLOzF4rxDv+5iv+mcazRx0vaxFY2oUPuRaJng8efdW1XVTerNrEWoA7Lru7RgmdZc6FGGgehbaPI76jfl8mtIk5nZTPd3LTz5E/orUPyPG4la8Rq3dEbbKRwbVfcWtCNa3o20WRW4f5HtazYgkTS3eUXKAPzVfXWocCUOy6XFhA0dyK7sgzcpzG69gCNkSCvPSpqlKyHcZX3ppGc5kGAqfODO2u034y2N7fKwrFGBciymzp3c3EFiVl1YPEgTJ5rmbobSPtqeBfJ3xN9t1/3OmDK9nBe9yCr03xAp/hZMR6snzGaorr0ifQyfy60W/mycL/nSI81mqLtZIt0R/k29q17yXJwC2q0JpGDFE077HM9IshW7IfYpPBn0peoDU+b0dwCxRFVA21G3UiPGnLOqAjXw30UuOwkg2FSSdRzNuiWwxRcvzD/HRKsOa3H+44dQDb9FBFRxTnhnK/07JngNcba/wRm7A76pgMM2DHpW8QrfNKI5LJZVfW/utF1ldBmLeDyKEFZ0Ix+7hEcFUxy9VweZxMvsSEzzO7cDtqLp31cACQ8k09Nu7ct+4efXYvuiWqjRZKwIi7vMlL8DTcd/pcH6u5UsCDz1S6NSA52APjt611kmaZ+/NxYfVAshktT1aLcy3g/TQeoT/HLt5lugj7q3OXn2ahEnTZnVxWHHZmIEQkMOuoSawYd8ORkr/U4UdLhXEprD6J06MWNKixL1MLQyLRJ65P+f9FPtghr0SKe97d+KkHGRq9LLTtY6NZEN7JN7PwTxJmv/k9gCsPgPbl/qtNw5KyyhDwqjxN35RSBqom+qwCGF4tEDIVxMapKQrNqX/ib5NKoptP/+fV12yvYb82//j+oHNBe8SqMS5DNRAp7Iq/kYgT0/fpQdZeyvo93ySf6WCvMHDmjkdZ9twdhnoeT0BkP709oki9HDuYT4rUte39+raLJdlaFrNJlJWCXrsfmg1nQbJyf64YRK0m7Gqni7v/Q2ha9JNewkpkuRo8GiWRmLOQW7RfhREg3cxBbuITgz2PMQXOyTbfI135rvoh9yPQDXHLE7qrTCRs0q38RCpgY8SXHeXlEu17+3SECErwfTtFGvThBFZ+Dzt/19mDWRrWlcwI8VTTCtm7+5mhvx6nieneX9ZBi9DvLDfEifmqC3G1040Lvk1yupyMUJOdIXIgUuZjULcZIl6wZ90YwwsmHiX0n/0d2nDSTdclXX3nke2tCASQ6pXetPbRGAbcMlYmSD/xcFsPNs4iDVJpbvrjNspKUTSaNHMyZZdnrEeDoJC75P3P6Ad5qlM1tpbOXt6QjbS/jmXoFiaP7qmcrA2C1P0EDNrCK1Hoq8x4n26emV9/NjmSjQRKbMBNxshBDNuaIkWSkpuqufAvJd5E7bFVXvvnGHJCQcQ5Fniuu6fF+2ww1nf1isL71I8CHo6IFAWvC1IIutSUlLpw4TNOVRnKVtArFs18kMicI7rP0ZLktFG087OOVjxw3OTO9i2kevtVq9ZiaA9ohPo3VYSAqqIub9eWUBu6hzb7NTyo5WnVTNfN5LVK5TzmPm4QlxZ72lRf7dNAI3z42u89bJIRnv7wcMvc/0HPiKTqz14037tczD4IX+3g81Pk5PxpukvJ7dVDNivysXs26GqOjr5f6WcIWbJemZr/dg0MiyvoTL1Ma+RwdOUWylfF67/7RX47Pb6FRBPsrPXmPkFetnzR5eqsj7P0euaRzUbKvU1PSK5s3yXYTt/tH+ZXvX6VEjRF/TQ5fHCjGiQkF2kQhzhXE3Nqgmxx5wBxAaVkp8hhsOdeIAjW27Ci9nliEOQ7C8JHgw2BY0IRAIduscob/CKzOmVrIL7wM50onZ2Ncr569j1fPECDEKca5CkVt/hHrjwT4Tzeq/CxPkK2Tdc3BHvIZDbJgFQL9U0Y7bSjK17iZe3F1I75zk8wLVPnvgkNjurDlFK4sSCHvnJ1a3ZObV8+6qiEitA5fsSzHzk8XaC8yOF+44LkeL7pWjx2EPliexfEnmJDWDSk+GdBtwxPEpwdH3WLrq++IUwi0DbOjFTZojy9bqCLJDOfUWChbrZroHp7NiLzYJAm54VZ4tFtmc68Udn/tGVX7MtFlU/ZZ+LBK5YO7WEPcpHH/VZAPGCcQsXYYzYI20p1IiBrt4UmG3oHsIHhOij7HhMyU1E4p4aRn5gVqOHzpm9z/aL05+1NFRMc57f8mLR7u385Y7PPch+tS64FJBzKaQhYH3I6VpfvU5gfwpjocyQsBat3GntZAXDsu8wRp+YyPhjriw3lJWkl/X/K6Sf9KVeUi/Hla6efv5MCeS44v/p1EGoHao1yhrA1XpDMtFOMPrfiLj+dr5jOiZrcj0DfSliOmsVQAQif/NzUK/UcABht62n3gBY6QC0BdI+K/YjZ6cvJIbjxtymI+bI/I3pjDPARqo/fByMMAPMDgc23x0bmC6ihr2coALs3jBRrUgHZh8y8NQV6vE4VXCQ/a2f2+bi5Mg1GdFc725syiDbyaQo7kacTCnIXJUgEFkBp54smUKF7J1pGz/zhujOfN78fhsIhN2TrOb5uXELq70Yj57Zc5UNNmQxAxBaBCWp0PLUxhLy0sOGbFlvkGb1wErIEwAnvv/URG0QQqXicTIPT3yz3y6DURmqdN1cwGqTLOLjrauFOLmTxZHh0AsmhfTGMiSXx5l5BG8ZjK7dqalz+ECtAWWYecuunv0709i+eWkZVI/gQXN6Mf/IDnGubw3rr0AWSFiBbhjYOVAYhh9qApssDhucXF9Sn3w11OGmBt4XWqNHdHy3YQsBvVPGEPExwg5ry+bc9mwEuzddno9OTbU9XcFd2I6rf9tekFArkMF6m7v8mHiyynIQgSDGqFwQ8shMyyu9A9j3N4glESnh1BNtZN5StfAzcrGbHFeMb63HDv2loggw9DO47bb55Ct4nqNbtYnCFpKvj/YhRg97C35krh/y3jn0fZ34Gyxfb0er/VfvqY5Hag/+zQMBK2dA7nUqk3pNd/rgX/rat203ASa6G3g7G7JZcc5IcZo7ZQvKeBGsQ16JvLERQVkOa2CHuQZJlylrFMz5fyThUItg+MtO0t+UFRFYdRKH6FulMziM7JG++idhaI+CMUEQNC+FKKkWDDNYqbiDRNdtfo4MlJOPg0jBeW48WgozQ8FIq0XMiN+gxZlmv+juxs0AR4Vs632JziImw2xbs881Np+/MkZWZQ3AyaRT7C7ZtGLRpnZxCAmTOQvDVhKSrwgfen7XDRfsMKkocCzxH+CGhcJ8zTGSpYd01FpEgjeRLW2c2Yrh6J6DJmLD1mttSKHOKJnu4cO0zzY89WgXK+Q9EsJ7Dv5WpJABdNDSGjg7jj5ux+hhb2gCLNqv6fwpdCWzYjDMXk6NzJQ3BN0iClxEd9soF2uu4uWnL3T5lY+WUfx6iQiYG4z+ZXtWlU3Ae1W/xdzEnlZaf0K0wIQlJGucI6vom8IH2m+JRHdgUnn2x1Tzk/PrJgTHsPLxjAaOOkh7o4i37uxBUbE3p8S2DkNoaoAGp/eTeRz20hys14pv3fVpCzH+7NTYbEGVpY97gV/SaAD3b3WnjlrTBkeiVJeO0HrFcqKh/N8EiyCe8PgOy7m2+7/aUIdCm1n1p1VaKRRN+Ko3M3gdX+vCW176Qacy1Gn/FqfSoC7knJ6nWS18Xf8saDOVb5oLZLTbb3B8/qk1j6L0oTCVSss/S4/toMJ2HFAhzhLAdPj0/aEdAxJGh71t2FW4KpbSJmwd5CeBFfcv+WFIUUYg1DL7wEiAKYKQC98dEHKResvUqvU2QGgRCezOfxxrWnxML2C3ioR5XvpczTyRb400tDHHly0eMqXOMwRRU89NvYy8vlW0UxPii/KNoVxtMc8zYQLEqReDvrCKVKu4NrP7oNIJXbZy18SOzVtzcsPiotgw5JefrlRRVPZzP4lq9C/v/fFDSS+ZxeIz/9FJQZHjj92u9hfmEEb1LpMhgZY+vVKbvm4E+ofHOxU1Vn5waAQv2AJ0SqLWI1WrZnVYVBO9af4abTTsor2PcVZMcEuL7qEYwrUVfAzmpc0R7lw7W8OwbxU1lhqG19IVcUvGmn8T+TjuI91Hu0QT2gkiBEcm7Euwh5zffdzV7u2gBjakudktXVld4GFWYYY26NqFIjfRhWcGCRfqf/DSY+/N8AhSD1pkl/7L5mk3jyQm2wV2AKUb060yE4b7lK6Y+5r3N7Zr2YxPD2EbvGBQIBA8f2Xsbrmpu+GtwFIyS1xCY5lyOvaJriLyv9MOMRFS3Lfduq9yFVzyQJs/zJk744fXI69o0mKBn+jB3OL53sO44Dx64jW0yjsl4mi0yuqnNH2WaPDTgJpbjcKQ83I5Y637JIpEf3Hg+dWwg6PjO/tzdklHzpsPly5mVlSg1Rpy/LKo5OkRYeuI49tkCWQ+Hrvg/bsWY7kgOGyKEbx40ItOHpB7OnrgxqeMyjSzewOW7kvAnmqZbV21TSOf72/nWMcPBVJ0awEwlXYaE6A9e2uigesOlWPv+HsFhhNWTrapKYcMiM0qNRSy9qfj/D9nD53Vxk3AMAY/nJIj4jKKMEaYoLw/YjaK/wcrbg0n1tS9oCRJP8m2ZmZkN1j7zkSMKUu6GPX6AtTbsTsfsVdU9XAgUwnS58x69WyBGovCey2OmR7UOkxpw/nq87Kkb4MjUzlkGJe+/vQKlns5/v1LqNGBGnyszK11FCAfZhWaMsYbdWwpNSh9ysOp/8opyb5P3qJztYjtyCCPQp+I71kX7nW7pSqckx+kQImHBLlsUfdv63e6XAl2GW8KxTT2waRtIWtRgNbsWyJ72nTgq0RkbrVOGM2scxXfpvOjIWxs4GuC+kEU+CZ5dvo66sjOxO93irOC89IPktrLh2fiQlBD0bobDH3n9GEvSbNeZxf9kRAXhCi+8sEOdaGc4A/kdLGfymC8xmYTuOp3qMl73H1XYBxUsFA+rea+l+qti+NaZzrSpK64ONEqEFnWuC+CblWI7pfYS5vcoz7UJz9oLzJHq4MIGUuPUVYOOqTNKdgi1DKKbJOUroD3UQDYNHe+Nv1TW2f2sRLWUcNgQ9f/yxe1xFzEFx5Snxt5RgbDmGbxtgrfq89ZH2/K0xU6892pwbYuSzy8lnn0QGsRusWZhtqFakrMVUqZNa7vWjFYLTQ5DxP8WFs4eQX8Go0QyINDS2udEM2oLsJzYWcGh84fPK3f9CKittGe9h9I9tlr4byRFbQeymIqXqibIs0e8FNOHqXs8n7PIkz606x/45wnW5Uisrk5Admci1XzIPffuBdIsO88Bxa2Ee1j+ej3YlkgTroIzwDmabJB8gZI5/grRuyu0SWiEqy2W9SITgb99Cr14wb8IcKBF44JVY5g4RJVeTzs/J+FBgLaLZ12UC+8L8hNd0V5/4FXrlfz7OYJRhYCqSeBbW6N/UFsWOtBlnJYSKCDBMg/FZK94nJNhL+AFxAStce9A0B+9paCzWY6fjg6EdixfIJFPSLFg6X1bJCuCn0ejETXJ78O1A83Nm5IIknovPDdE/E9DX528PUtX2edOjacsuaZQPjf3cwOeImjyhlAwoRtS3WGsgsLfHdjGc6lYtyiA8qBVs5IqDSjbQ/Hmjep6E34P+FNT+8d3T1DxjUFPNu02GX1Ofi71opggRq5EyoFjpmoQWww7LmlQBSg9H6Vd1L4GB2RFbfOtqXc6C+stm82wj02HAPZsCsLZ7UdAP0z1H5MiIvStxZnUGEj+SuDKq3iJQvVQjvkzGUghNmO2miK1L0EDjT/4utkZ28HvYI1UKWJopn5LLIVNGuSzR4OgmhE0gWhMV9X8JzZNX2H0bzUvk9Htjz280cQ0F152bBwpSaPcFGsOxqRf7gN3jRUz4n/J98kwwlYFxyopb7IIV0usP7q7FrrBfJktv6oOpcXMWpylvDPYeaHrDWnK6VJBMf7Z0ag7kaky0SNKyMPhR2WQkkqfbzncgE20TUn+Zb8cBB6frmprWKqbsWLg/gq4p8isBc6G/Pb6OcpqkvxAlGlzUM2zQmAuDh/PxSzMcmmTpV4Zs2wAna+YD7YIhJ0A+rFas2L1K0g5aOvr/88xi1Oy5E0eyr6kxDpgbST5GQJkHYH7dmBZKrsdM0Ofo5LSayfxlj7rhKGUKcDwNEs6GK5a3YwJYY9PMdjH6/dCmcht7rW8jyERgqXZKHF5pRurORVipKty6wfE2IqvmG4OtFTSg1rCqyxJFZGX8rty0Y/akblwUSFL7+6tRmG4UWJ2hCNNQaRQp43VksNJan7KRKaxZV00s2qDlNNAn/RHV06K8sV0v8NYBpmUbH+snENLzorvoo3AXovfmMW6AVq+qv93bRP/XziUCJSQPwpxngPI0P3M4p2qxWUWlcR88wek34UCTAN2ZVHxX1IuGCRo7rh1gak0q64zsJ42kbCGPjKE9XQRyP5aYp/oJwGkhFBOzDZ/1X5UzE0CSYkrIJC6lhRc9EXmPYZ0UXJ6ThWdRgS23Gw2WtzLQ1Mzsuh23vSJW7vi8G4FrBrN2Tev+cob4VIVyPfY8iOWVUPpNKQpvi3KiVj5FxErmvQxCYgmUqxlAt2fjwQj2iEnwQ0wtrQF9Lgj+XMTxKJ9Ui9ZwQI9e9h6T4DdRTxft+AACLJnU8gGtZS5ah8zygmUH+EtmLdLCRJg3cuejuORQ6f3ib7SSeCgGyVAicIlEsRWKbwKYeCqZ//RP5d5YZUsq/PlLwS75MjvROSq5jC1ji7IqLSmjo0G5n/o03EO77m1qyYkQh1bFclAijS67Ry9eiVp8FFwkM++5LJVbvfjqxLWERf+4/zkD8Gkx+XE1bBGOBi96ZZ3RQ+LmXTt9LY4TvJNqmvj56edrpScIjAHd2Q1ymLrl5cu6TaRAb4nUymqJs0ne3c8rrm5yHgUYU7gc4AZLGnZwfqrYEeEHuhXb0Q/OjJYihDCFT8fq8AqVLUKS1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630444F605947AF1BA8DDCB5ED808" ma:contentTypeVersion="0" ma:contentTypeDescription="Create a new document." ma:contentTypeScope="" ma:versionID="5f560dc5f0526d8e2997988594c9ede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64fba10950e7f7d0449e811c377ef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938A6D-6F5A-42A5-98C0-B80A54977D40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8E36D87-4C28-4B19-BDE1-ED41B98F41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87</TotalTime>
  <Words>56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entury Gothic</vt:lpstr>
      <vt:lpstr>Clarity</vt:lpstr>
      <vt:lpstr>Tech Giant Revenue Mix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141</cp:revision>
  <cp:lastPrinted>2018-01-10T19:30:07Z</cp:lastPrinted>
  <dcterms:created xsi:type="dcterms:W3CDTF">2014-11-08T22:34:19Z</dcterms:created>
  <dcterms:modified xsi:type="dcterms:W3CDTF">2018-01-25T17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630444F605947AF1BA8DDCB5ED808</vt:lpwstr>
  </property>
</Properties>
</file>